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slideLayouts/slideLayout22.xml" ContentType="application/vnd.openxmlformats-officedocument.presentationml.slideLayout+xml"/>
  <Override PartName="/ppt/theme/theme3.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7.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4912" r:id="rId2"/>
    <p:sldMasterId id="2147484979" r:id="rId3"/>
    <p:sldMasterId id="2147484992" r:id="rId4"/>
  </p:sldMasterIdLst>
  <p:notesMasterIdLst>
    <p:notesMasterId r:id="rId29"/>
  </p:notesMasterIdLst>
  <p:sldIdLst>
    <p:sldId id="345" r:id="rId5"/>
    <p:sldId id="347" r:id="rId6"/>
    <p:sldId id="344" r:id="rId7"/>
    <p:sldId id="366" r:id="rId8"/>
    <p:sldId id="369" r:id="rId9"/>
    <p:sldId id="349" r:id="rId10"/>
    <p:sldId id="354" r:id="rId11"/>
    <p:sldId id="356" r:id="rId12"/>
    <p:sldId id="357" r:id="rId13"/>
    <p:sldId id="375" r:id="rId14"/>
    <p:sldId id="368" r:id="rId15"/>
    <p:sldId id="360" r:id="rId16"/>
    <p:sldId id="361" r:id="rId17"/>
    <p:sldId id="362" r:id="rId18"/>
    <p:sldId id="371" r:id="rId19"/>
    <p:sldId id="372" r:id="rId20"/>
    <p:sldId id="374" r:id="rId21"/>
    <p:sldId id="373" r:id="rId22"/>
    <p:sldId id="370" r:id="rId23"/>
    <p:sldId id="376" r:id="rId24"/>
    <p:sldId id="363" r:id="rId25"/>
    <p:sldId id="364" r:id="rId26"/>
    <p:sldId id="377" r:id="rId27"/>
    <p:sldId id="348" r:id="rId2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Quarterly Update" id="{3D4E9AC5-A372-5F4C-9AB7-15C18E4214C1}">
          <p14:sldIdLst>
            <p14:sldId id="345"/>
            <p14:sldId id="347"/>
            <p14:sldId id="344"/>
            <p14:sldId id="366"/>
            <p14:sldId id="369"/>
            <p14:sldId id="349"/>
            <p14:sldId id="354"/>
            <p14:sldId id="356"/>
            <p14:sldId id="357"/>
            <p14:sldId id="375"/>
            <p14:sldId id="368"/>
            <p14:sldId id="360"/>
            <p14:sldId id="361"/>
            <p14:sldId id="362"/>
            <p14:sldId id="371"/>
            <p14:sldId id="372"/>
            <p14:sldId id="374"/>
            <p14:sldId id="373"/>
            <p14:sldId id="370"/>
            <p14:sldId id="376"/>
            <p14:sldId id="363"/>
            <p14:sldId id="364"/>
            <p14:sldId id="377"/>
            <p14:sldId id="348"/>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9ECAFD"/>
    <a:srgbClr val="597595"/>
    <a:srgbClr val="3E76B6"/>
    <a:srgbClr val="A87B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096"/>
    <p:restoredTop sz="80578"/>
  </p:normalViewPr>
  <p:slideViewPr>
    <p:cSldViewPr snapToGrid="0" snapToObjects="1">
      <p:cViewPr varScale="1">
        <p:scale>
          <a:sx n="96" d="100"/>
          <a:sy n="96" d="100"/>
        </p:scale>
        <p:origin x="1662" y="84"/>
      </p:cViewPr>
      <p:guideLst/>
    </p:cSldViewPr>
  </p:slideViewPr>
  <p:outlineViewPr>
    <p:cViewPr>
      <p:scale>
        <a:sx n="33" d="100"/>
        <a:sy n="33" d="100"/>
      </p:scale>
      <p:origin x="0" y="0"/>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slideMaster" Target="slideMasters/slideMaster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presProps" Target="presProps.xml"/><Relationship Id="rId8" Type="http://schemas.openxmlformats.org/officeDocument/2006/relationships/slide" Target="slides/slide4.xml"/></Relationships>
</file>

<file path=ppt/charts/_rels/chart1.xml.rels><?xml version="1.0" encoding="UTF-8" standalone="yes"?>
<Relationships xmlns="http://schemas.openxmlformats.org/package/2006/relationships"><Relationship Id="rId3" Type="http://schemas.openxmlformats.org/officeDocument/2006/relationships/oleObject" Target="https://sharedspace.sharepoint.com/sites/London-DSalesTraining/Shared%20Documents/General/2022-03-30_ParisD-PR1-R120_PR2-R50A_RndWrt-QD01-demo-improvement-by-OptiNAND.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1000059076\Documents\Tech%20Talks\21-Sept-22\3D%20charts.xlsx"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r>
              <a:rPr lang="en-US"/>
              <a:t>Random Write, WCD </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endParaRPr lang="en-US"/>
        </a:p>
      </c:txPr>
    </c:title>
    <c:autoTitleDeleted val="0"/>
    <c:plotArea>
      <c:layout/>
      <c:lineChart>
        <c:grouping val="standard"/>
        <c:varyColors val="0"/>
        <c:ser>
          <c:idx val="4"/>
          <c:order val="0"/>
          <c:tx>
            <c:strRef>
              <c:f>'WCD OptiNAND'!$T$5</c:f>
              <c:strCache>
                <c:ptCount val="1"/>
                <c:pt idx="0">
                  <c:v>Without ArmorCache</c:v>
                </c:pt>
              </c:strCache>
            </c:strRef>
          </c:tx>
          <c:spPr>
            <a:ln w="28575" cap="rnd">
              <a:solidFill>
                <a:srgbClr val="FFC000"/>
              </a:solidFill>
              <a:round/>
            </a:ln>
            <a:effectLst/>
          </c:spPr>
          <c:marker>
            <c:symbol val="circle"/>
            <c:size val="5"/>
            <c:spPr>
              <a:solidFill>
                <a:srgbClr val="FFC000"/>
              </a:solidFill>
              <a:ln w="9525">
                <a:solidFill>
                  <a:srgbClr val="FFC000"/>
                </a:solidFill>
              </a:ln>
              <a:effectLst/>
            </c:spPr>
          </c:marker>
          <c:cat>
            <c:numRef>
              <c:f>'WCD OptiNAND'!$D$6:$D$15</c:f>
              <c:numCache>
                <c:formatCode>General</c:formatCode>
                <c:ptCount val="10"/>
                <c:pt idx="0">
                  <c:v>4</c:v>
                </c:pt>
                <c:pt idx="1">
                  <c:v>8</c:v>
                </c:pt>
                <c:pt idx="2">
                  <c:v>16</c:v>
                </c:pt>
                <c:pt idx="3">
                  <c:v>32</c:v>
                </c:pt>
                <c:pt idx="4">
                  <c:v>64</c:v>
                </c:pt>
                <c:pt idx="5">
                  <c:v>128</c:v>
                </c:pt>
                <c:pt idx="6">
                  <c:v>256</c:v>
                </c:pt>
                <c:pt idx="7">
                  <c:v>512</c:v>
                </c:pt>
                <c:pt idx="8">
                  <c:v>1024</c:v>
                </c:pt>
                <c:pt idx="9">
                  <c:v>2048</c:v>
                </c:pt>
              </c:numCache>
            </c:numRef>
          </c:cat>
          <c:val>
            <c:numRef>
              <c:f>'WCD OptiNAND'!$T$6:$T$25</c:f>
              <c:numCache>
                <c:formatCode>General</c:formatCode>
                <c:ptCount val="10"/>
                <c:pt idx="0">
                  <c:v>1.9544064000000001</c:v>
                </c:pt>
                <c:pt idx="1">
                  <c:v>3.8504448</c:v>
                </c:pt>
                <c:pt idx="2">
                  <c:v>6.8841472000000001</c:v>
                </c:pt>
                <c:pt idx="3">
                  <c:v>11.794022400000001</c:v>
                </c:pt>
                <c:pt idx="4">
                  <c:v>19.364249599999997</c:v>
                </c:pt>
                <c:pt idx="5">
                  <c:v>29.330636799999997</c:v>
                </c:pt>
                <c:pt idx="6">
                  <c:v>40.507801599999993</c:v>
                </c:pt>
                <c:pt idx="7">
                  <c:v>51.249152000000002</c:v>
                </c:pt>
                <c:pt idx="8">
                  <c:v>63.805849599999995</c:v>
                </c:pt>
                <c:pt idx="9">
                  <c:v>99.824435199999996</c:v>
                </c:pt>
              </c:numCache>
            </c:numRef>
          </c:val>
          <c:smooth val="0"/>
          <c:extLst>
            <c:ext xmlns:c16="http://schemas.microsoft.com/office/drawing/2014/chart" uri="{C3380CC4-5D6E-409C-BE32-E72D297353CC}">
              <c16:uniqueId val="{00000000-FD79-4C0E-B29F-E04B8B3F76D1}"/>
            </c:ext>
          </c:extLst>
        </c:ser>
        <c:ser>
          <c:idx val="3"/>
          <c:order val="1"/>
          <c:tx>
            <c:strRef>
              <c:f>'WCD OptiNAND'!$S$5</c:f>
              <c:strCache>
                <c:ptCount val="1"/>
                <c:pt idx="0">
                  <c:v>With ArmorCache</c:v>
                </c:pt>
              </c:strCache>
            </c:strRef>
          </c:tx>
          <c:spPr>
            <a:ln w="28575" cap="rnd">
              <a:solidFill>
                <a:srgbClr val="00B050"/>
              </a:solidFill>
              <a:round/>
            </a:ln>
            <a:effectLst/>
          </c:spPr>
          <c:marker>
            <c:symbol val="circle"/>
            <c:size val="5"/>
            <c:spPr>
              <a:solidFill>
                <a:srgbClr val="00B050"/>
              </a:solidFill>
              <a:ln w="9525">
                <a:solidFill>
                  <a:srgbClr val="00B050"/>
                </a:solidFill>
              </a:ln>
              <a:effectLst/>
            </c:spPr>
          </c:marker>
          <c:cat>
            <c:numRef>
              <c:f>'WCD OptiNAND'!$D$6:$D$15</c:f>
              <c:numCache>
                <c:formatCode>General</c:formatCode>
                <c:ptCount val="10"/>
                <c:pt idx="0">
                  <c:v>4</c:v>
                </c:pt>
                <c:pt idx="1">
                  <c:v>8</c:v>
                </c:pt>
                <c:pt idx="2">
                  <c:v>16</c:v>
                </c:pt>
                <c:pt idx="3">
                  <c:v>32</c:v>
                </c:pt>
                <c:pt idx="4">
                  <c:v>64</c:v>
                </c:pt>
                <c:pt idx="5">
                  <c:v>128</c:v>
                </c:pt>
                <c:pt idx="6">
                  <c:v>256</c:v>
                </c:pt>
                <c:pt idx="7">
                  <c:v>512</c:v>
                </c:pt>
                <c:pt idx="8">
                  <c:v>1024</c:v>
                </c:pt>
                <c:pt idx="9">
                  <c:v>2048</c:v>
                </c:pt>
              </c:numCache>
            </c:numRef>
          </c:cat>
          <c:val>
            <c:numRef>
              <c:f>'WCD OptiNAND'!$S$6:$S$25</c:f>
              <c:numCache>
                <c:formatCode>General</c:formatCode>
                <c:ptCount val="10"/>
                <c:pt idx="0">
                  <c:v>2.3477247999999999</c:v>
                </c:pt>
                <c:pt idx="1">
                  <c:v>4.2977280000000002</c:v>
                </c:pt>
                <c:pt idx="2">
                  <c:v>7.6025855999999994</c:v>
                </c:pt>
                <c:pt idx="3">
                  <c:v>13.255475199999999</c:v>
                </c:pt>
                <c:pt idx="4">
                  <c:v>22.483763199999995</c:v>
                </c:pt>
                <c:pt idx="5">
                  <c:v>36.601855999999998</c:v>
                </c:pt>
                <c:pt idx="6">
                  <c:v>57.317785600000001</c:v>
                </c:pt>
                <c:pt idx="7">
                  <c:v>82.732646400000007</c:v>
                </c:pt>
                <c:pt idx="8">
                  <c:v>115.92007680000002</c:v>
                </c:pt>
                <c:pt idx="9">
                  <c:v>146.64335360000001</c:v>
                </c:pt>
              </c:numCache>
            </c:numRef>
          </c:val>
          <c:smooth val="0"/>
          <c:extLst>
            <c:ext xmlns:c16="http://schemas.microsoft.com/office/drawing/2014/chart" uri="{C3380CC4-5D6E-409C-BE32-E72D297353CC}">
              <c16:uniqueId val="{00000001-FD79-4C0E-B29F-E04B8B3F76D1}"/>
            </c:ext>
          </c:extLst>
        </c:ser>
        <c:dLbls>
          <c:showLegendKey val="0"/>
          <c:showVal val="0"/>
          <c:showCatName val="0"/>
          <c:showSerName val="0"/>
          <c:showPercent val="0"/>
          <c:showBubbleSize val="0"/>
        </c:dLbls>
        <c:marker val="1"/>
        <c:smooth val="0"/>
        <c:axId val="1445237600"/>
        <c:axId val="1593416672"/>
        <c:extLst>
          <c:ext xmlns:c15="http://schemas.microsoft.com/office/drawing/2012/chart" uri="{02D57815-91ED-43cb-92C2-25804820EDAC}">
            <c15:filteredLineSeries>
              <c15:ser>
                <c:idx val="0"/>
                <c:order val="2"/>
                <c:tx>
                  <c:strRef>
                    <c:extLst>
                      <c:ext uri="{02D57815-91ED-43cb-92C2-25804820EDAC}">
                        <c15:formulaRef>
                          <c15:sqref>'WCD OptiNAND'!$P$4:$P$5</c15:sqref>
                        </c15:formulaRef>
                      </c:ext>
                    </c:extLst>
                    <c:strCache>
                      <c:ptCount val="2"/>
                      <c:pt idx="1">
                        <c:v>With CacheGuard</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cat>
                  <c:numRef>
                    <c:extLst>
                      <c:ext uri="{02D57815-91ED-43cb-92C2-25804820EDAC}">
                        <c15:formulaRef>
                          <c15:sqref>'WCD OptiNAND'!$D$6:$D$15</c15:sqref>
                        </c15:formulaRef>
                      </c:ext>
                    </c:extLst>
                    <c:numCache>
                      <c:formatCode>General</c:formatCode>
                      <c:ptCount val="10"/>
                      <c:pt idx="0">
                        <c:v>4</c:v>
                      </c:pt>
                      <c:pt idx="1">
                        <c:v>8</c:v>
                      </c:pt>
                      <c:pt idx="2">
                        <c:v>16</c:v>
                      </c:pt>
                      <c:pt idx="3">
                        <c:v>32</c:v>
                      </c:pt>
                      <c:pt idx="4">
                        <c:v>64</c:v>
                      </c:pt>
                      <c:pt idx="5">
                        <c:v>128</c:v>
                      </c:pt>
                      <c:pt idx="6">
                        <c:v>256</c:v>
                      </c:pt>
                      <c:pt idx="7">
                        <c:v>512</c:v>
                      </c:pt>
                      <c:pt idx="8">
                        <c:v>1024</c:v>
                      </c:pt>
                      <c:pt idx="9">
                        <c:v>2048</c:v>
                      </c:pt>
                    </c:numCache>
                  </c:numRef>
                </c:cat>
                <c:val>
                  <c:numRef>
                    <c:extLst>
                      <c:ext uri="{02D57815-91ED-43cb-92C2-25804820EDAC}">
                        <c15:formulaRef>
                          <c15:sqref>'WCD OptiNAND'!$P$6:$P$25</c15:sqref>
                        </c15:formulaRef>
                      </c:ext>
                    </c:extLst>
                    <c:numCache>
                      <c:formatCode>0.0</c:formatCode>
                      <c:ptCount val="10"/>
                      <c:pt idx="0">
                        <c:v>573.17499999999995</c:v>
                      </c:pt>
                      <c:pt idx="1">
                        <c:v>524.625</c:v>
                      </c:pt>
                      <c:pt idx="2">
                        <c:v>464.02499999999998</c:v>
                      </c:pt>
                      <c:pt idx="3">
                        <c:v>404.52499999999998</c:v>
                      </c:pt>
                      <c:pt idx="4">
                        <c:v>343.07499999999993</c:v>
                      </c:pt>
                      <c:pt idx="5">
                        <c:v>279.25</c:v>
                      </c:pt>
                      <c:pt idx="6">
                        <c:v>218.65</c:v>
                      </c:pt>
                      <c:pt idx="7">
                        <c:v>157.80000000000001</c:v>
                      </c:pt>
                      <c:pt idx="8">
                        <c:v>110.55000000000001</c:v>
                      </c:pt>
                      <c:pt idx="9">
                        <c:v>69.925000000000011</c:v>
                      </c:pt>
                    </c:numCache>
                  </c:numRef>
                </c:val>
                <c:smooth val="0"/>
                <c:extLst>
                  <c:ext xmlns:c16="http://schemas.microsoft.com/office/drawing/2014/chart" uri="{C3380CC4-5D6E-409C-BE32-E72D297353CC}">
                    <c16:uniqueId val="{00000002-FD79-4C0E-B29F-E04B8B3F76D1}"/>
                  </c:ext>
                </c:extLst>
              </c15:ser>
            </c15:filteredLineSeries>
            <c15:filteredLineSeries>
              <c15:ser>
                <c:idx val="1"/>
                <c:order val="3"/>
                <c:tx>
                  <c:strRef>
                    <c:extLst xmlns:c15="http://schemas.microsoft.com/office/drawing/2012/chart">
                      <c:ext xmlns:c15="http://schemas.microsoft.com/office/drawing/2012/chart" uri="{02D57815-91ED-43cb-92C2-25804820EDAC}">
                        <c15:formulaRef>
                          <c15:sqref>'WCD OptiNAND'!$Q$4:$Q$5</c15:sqref>
                        </c15:formulaRef>
                      </c:ext>
                    </c:extLst>
                    <c:strCache>
                      <c:ptCount val="2"/>
                      <c:pt idx="1">
                        <c:v>Without CacheGuard</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numRef>
                    <c:extLst xmlns:c15="http://schemas.microsoft.com/office/drawing/2012/chart">
                      <c:ext xmlns:c15="http://schemas.microsoft.com/office/drawing/2012/chart" uri="{02D57815-91ED-43cb-92C2-25804820EDAC}">
                        <c15:formulaRef>
                          <c15:sqref>'WCD OptiNAND'!$D$6:$D$15</c15:sqref>
                        </c15:formulaRef>
                      </c:ext>
                    </c:extLst>
                    <c:numCache>
                      <c:formatCode>General</c:formatCode>
                      <c:ptCount val="10"/>
                      <c:pt idx="0">
                        <c:v>4</c:v>
                      </c:pt>
                      <c:pt idx="1">
                        <c:v>8</c:v>
                      </c:pt>
                      <c:pt idx="2">
                        <c:v>16</c:v>
                      </c:pt>
                      <c:pt idx="3">
                        <c:v>32</c:v>
                      </c:pt>
                      <c:pt idx="4">
                        <c:v>64</c:v>
                      </c:pt>
                      <c:pt idx="5">
                        <c:v>128</c:v>
                      </c:pt>
                      <c:pt idx="6">
                        <c:v>256</c:v>
                      </c:pt>
                      <c:pt idx="7">
                        <c:v>512</c:v>
                      </c:pt>
                      <c:pt idx="8">
                        <c:v>1024</c:v>
                      </c:pt>
                      <c:pt idx="9">
                        <c:v>2048</c:v>
                      </c:pt>
                    </c:numCache>
                  </c:numRef>
                </c:cat>
                <c:val>
                  <c:numRef>
                    <c:extLst xmlns:c15="http://schemas.microsoft.com/office/drawing/2012/chart">
                      <c:ext xmlns:c15="http://schemas.microsoft.com/office/drawing/2012/chart" uri="{02D57815-91ED-43cb-92C2-25804820EDAC}">
                        <c15:formulaRef>
                          <c15:sqref>'WCD OptiNAND'!$Q$6:$Q$25</c15:sqref>
                        </c15:formulaRef>
                      </c:ext>
                    </c:extLst>
                    <c:numCache>
                      <c:formatCode>0.0</c:formatCode>
                      <c:ptCount val="10"/>
                      <c:pt idx="0">
                        <c:v>477.15000000000003</c:v>
                      </c:pt>
                      <c:pt idx="1">
                        <c:v>470.02499999999998</c:v>
                      </c:pt>
                      <c:pt idx="2">
                        <c:v>420.17500000000001</c:v>
                      </c:pt>
                      <c:pt idx="3">
                        <c:v>359.92500000000001</c:v>
                      </c:pt>
                      <c:pt idx="4">
                        <c:v>295.47499999999997</c:v>
                      </c:pt>
                      <c:pt idx="5">
                        <c:v>223.77499999999998</c:v>
                      </c:pt>
                      <c:pt idx="6">
                        <c:v>154.52499999999998</c:v>
                      </c:pt>
                      <c:pt idx="7">
                        <c:v>97.75</c:v>
                      </c:pt>
                      <c:pt idx="8">
                        <c:v>60.849999999999994</c:v>
                      </c:pt>
                      <c:pt idx="9">
                        <c:v>47.6</c:v>
                      </c:pt>
                    </c:numCache>
                  </c:numRef>
                </c:val>
                <c:smooth val="0"/>
                <c:extLst xmlns:c15="http://schemas.microsoft.com/office/drawing/2012/chart">
                  <c:ext xmlns:c16="http://schemas.microsoft.com/office/drawing/2014/chart" uri="{C3380CC4-5D6E-409C-BE32-E72D297353CC}">
                    <c16:uniqueId val="{00000003-FD79-4C0E-B29F-E04B8B3F76D1}"/>
                  </c:ext>
                </c:extLst>
              </c15:ser>
            </c15:filteredLineSeries>
            <c15:filteredLineSeries>
              <c15:ser>
                <c:idx val="2"/>
                <c:order val="4"/>
                <c:tx>
                  <c:strRef>
                    <c:extLst xmlns:c15="http://schemas.microsoft.com/office/drawing/2012/chart">
                      <c:ext xmlns:c15="http://schemas.microsoft.com/office/drawing/2012/chart" uri="{02D57815-91ED-43cb-92C2-25804820EDAC}">
                        <c15:formulaRef>
                          <c15:sqref>'WCD OptiNAND'!$R$4:$R$5</c15:sqref>
                        </c15:formulaRef>
                      </c:ext>
                    </c:extLst>
                    <c:strCache>
                      <c:ptCount val="2"/>
                      <c:pt idx="1">
                        <c:v>%diff</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cat>
                  <c:numRef>
                    <c:extLst xmlns:c15="http://schemas.microsoft.com/office/drawing/2012/chart">
                      <c:ext xmlns:c15="http://schemas.microsoft.com/office/drawing/2012/chart" uri="{02D57815-91ED-43cb-92C2-25804820EDAC}">
                        <c15:formulaRef>
                          <c15:sqref>'WCD OptiNAND'!$D$6:$D$15</c15:sqref>
                        </c15:formulaRef>
                      </c:ext>
                    </c:extLst>
                    <c:numCache>
                      <c:formatCode>General</c:formatCode>
                      <c:ptCount val="10"/>
                      <c:pt idx="0">
                        <c:v>4</c:v>
                      </c:pt>
                      <c:pt idx="1">
                        <c:v>8</c:v>
                      </c:pt>
                      <c:pt idx="2">
                        <c:v>16</c:v>
                      </c:pt>
                      <c:pt idx="3">
                        <c:v>32</c:v>
                      </c:pt>
                      <c:pt idx="4">
                        <c:v>64</c:v>
                      </c:pt>
                      <c:pt idx="5">
                        <c:v>128</c:v>
                      </c:pt>
                      <c:pt idx="6">
                        <c:v>256</c:v>
                      </c:pt>
                      <c:pt idx="7">
                        <c:v>512</c:v>
                      </c:pt>
                      <c:pt idx="8">
                        <c:v>1024</c:v>
                      </c:pt>
                      <c:pt idx="9">
                        <c:v>2048</c:v>
                      </c:pt>
                    </c:numCache>
                  </c:numRef>
                </c:cat>
                <c:val>
                  <c:numRef>
                    <c:extLst xmlns:c15="http://schemas.microsoft.com/office/drawing/2012/chart">
                      <c:ext xmlns:c15="http://schemas.microsoft.com/office/drawing/2012/chart" uri="{02D57815-91ED-43cb-92C2-25804820EDAC}">
                        <c15:formulaRef>
                          <c15:sqref>'WCD OptiNAND'!$R$6:$R$25</c15:sqref>
                        </c15:formulaRef>
                      </c:ext>
                    </c:extLst>
                    <c:numCache>
                      <c:formatCode>0%</c:formatCode>
                      <c:ptCount val="10"/>
                      <c:pt idx="0">
                        <c:v>0.20124698732054891</c:v>
                      </c:pt>
                      <c:pt idx="1">
                        <c:v>0.1161640338279879</c:v>
                      </c:pt>
                      <c:pt idx="2">
                        <c:v>0.10436127803891226</c:v>
                      </c:pt>
                      <c:pt idx="3">
                        <c:v>0.12391470445231634</c:v>
                      </c:pt>
                      <c:pt idx="4">
                        <c:v>0.1610965394703443</c:v>
                      </c:pt>
                      <c:pt idx="5">
                        <c:v>0.24790526198190155</c:v>
                      </c:pt>
                      <c:pt idx="6">
                        <c:v>0.41498139459634387</c:v>
                      </c:pt>
                      <c:pt idx="7">
                        <c:v>0.61432225063938639</c:v>
                      </c:pt>
                      <c:pt idx="8">
                        <c:v>0.81676253081347605</c:v>
                      </c:pt>
                      <c:pt idx="9">
                        <c:v>0.46901260504201692</c:v>
                      </c:pt>
                    </c:numCache>
                  </c:numRef>
                </c:val>
                <c:smooth val="0"/>
                <c:extLst xmlns:c15="http://schemas.microsoft.com/office/drawing/2012/chart">
                  <c:ext xmlns:c16="http://schemas.microsoft.com/office/drawing/2014/chart" uri="{C3380CC4-5D6E-409C-BE32-E72D297353CC}">
                    <c16:uniqueId val="{00000004-FD79-4C0E-B29F-E04B8B3F76D1}"/>
                  </c:ext>
                </c:extLst>
              </c15:ser>
            </c15:filteredLineSeries>
          </c:ext>
        </c:extLst>
      </c:lineChart>
      <c:catAx>
        <c:axId val="1445237600"/>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Transfer Size [KiB]</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1593416672"/>
        <c:crosses val="autoZero"/>
        <c:auto val="1"/>
        <c:lblAlgn val="ctr"/>
        <c:lblOffset val="100"/>
        <c:noMultiLvlLbl val="0"/>
      </c:catAx>
      <c:valAx>
        <c:axId val="1593416672"/>
        <c:scaling>
          <c:orientation val="minMax"/>
          <c:max val="175"/>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US"/>
                  <a:t>Throughput, QD=1 (MB/s)</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144523760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solidFill>
      <a:schemeClr val="tx1"/>
    </a:solidFill>
    <a:ln>
      <a:noFill/>
    </a:ln>
    <a:effectLst/>
  </c:spPr>
  <c:txPr>
    <a:bodyPr/>
    <a:lstStyle/>
    <a:p>
      <a:pPr>
        <a:defRPr>
          <a:solidFill>
            <a:schemeClr val="bg1"/>
          </a:solidFill>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cap="none" spc="20" baseline="0">
                <a:solidFill>
                  <a:schemeClr val="tx1">
                    <a:lumMod val="50000"/>
                    <a:lumOff val="50000"/>
                  </a:schemeClr>
                </a:solidFill>
                <a:latin typeface="+mn-lt"/>
                <a:ea typeface="+mn-ea"/>
                <a:cs typeface="+mn-cs"/>
              </a:defRPr>
            </a:pPr>
            <a:r>
              <a:rPr lang="en-US" sz="2000" dirty="0">
                <a:solidFill>
                  <a:schemeClr val="bg1"/>
                </a:solidFill>
              </a:rPr>
              <a:t>WCD rand write percentage IOPs increase</a:t>
            </a:r>
          </a:p>
        </c:rich>
      </c:tx>
      <c:overlay val="0"/>
      <c:spPr>
        <a:noFill/>
        <a:ln>
          <a:noFill/>
        </a:ln>
        <a:effectLst/>
      </c:spPr>
      <c:txPr>
        <a:bodyPr rot="0" spcFirstLastPara="1" vertOverflow="ellipsis" vert="horz" wrap="square" anchor="ctr" anchorCtr="1"/>
        <a:lstStyle/>
        <a:p>
          <a:pPr>
            <a:defRPr sz="1400" b="0" i="0" u="none" strike="noStrike" kern="1200" cap="none" spc="20" baseline="0">
              <a:solidFill>
                <a:schemeClr val="tx1">
                  <a:lumMod val="50000"/>
                  <a:lumOff val="50000"/>
                </a:schemeClr>
              </a:solidFill>
              <a:latin typeface="+mn-lt"/>
              <a:ea typeface="+mn-ea"/>
              <a:cs typeface="+mn-cs"/>
            </a:defRPr>
          </a:pPr>
          <a:endParaRPr lang="en-US"/>
        </a:p>
      </c:txPr>
    </c:title>
    <c:autoTitleDeleted val="0"/>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bar3DChart>
        <c:barDir val="col"/>
        <c:grouping val="standard"/>
        <c:varyColors val="0"/>
        <c:ser>
          <c:idx val="0"/>
          <c:order val="0"/>
          <c:tx>
            <c:strRef>
              <c:f>Sheet2!$J$2</c:f>
              <c:strCache>
                <c:ptCount val="1"/>
                <c:pt idx="0">
                  <c:v>4k</c:v>
                </c:pt>
              </c:strCache>
            </c:strRef>
          </c:tx>
          <c:spPr>
            <a:gradFill rotWithShape="1">
              <a:gsLst>
                <a:gs pos="0">
                  <a:schemeClr val="accent1">
                    <a:lumMod val="110000"/>
                    <a:satMod val="105000"/>
                    <a:tint val="67000"/>
                  </a:schemeClr>
                </a:gs>
                <a:gs pos="50000">
                  <a:schemeClr val="accent1">
                    <a:lumMod val="105000"/>
                    <a:satMod val="103000"/>
                    <a:tint val="73000"/>
                  </a:schemeClr>
                </a:gs>
                <a:gs pos="100000">
                  <a:schemeClr val="accent1">
                    <a:lumMod val="105000"/>
                    <a:satMod val="109000"/>
                    <a:tint val="81000"/>
                  </a:schemeClr>
                </a:gs>
              </a:gsLst>
              <a:lin ang="5400000" scaled="0"/>
            </a:gradFill>
            <a:ln w="9525" cap="flat" cmpd="sng" algn="ctr">
              <a:solidFill>
                <a:schemeClr val="accent1">
                  <a:shade val="95000"/>
                </a:schemeClr>
              </a:solidFill>
              <a:round/>
            </a:ln>
            <a:effectLst/>
            <a:sp3d contourW="9525">
              <a:contourClr>
                <a:schemeClr val="accent1">
                  <a:shade val="95000"/>
                </a:schemeClr>
              </a:contourClr>
            </a:sp3d>
          </c:spPr>
          <c:invertIfNegative val="0"/>
          <c:cat>
            <c:numRef>
              <c:f>Sheet2!$K$1:$Q$1</c:f>
              <c:numCache>
                <c:formatCode>General</c:formatCode>
                <c:ptCount val="7"/>
                <c:pt idx="0">
                  <c:v>1</c:v>
                </c:pt>
                <c:pt idx="1">
                  <c:v>2</c:v>
                </c:pt>
                <c:pt idx="2">
                  <c:v>4</c:v>
                </c:pt>
                <c:pt idx="3">
                  <c:v>8</c:v>
                </c:pt>
                <c:pt idx="4">
                  <c:v>16</c:v>
                </c:pt>
                <c:pt idx="5">
                  <c:v>32</c:v>
                </c:pt>
                <c:pt idx="6">
                  <c:v>64</c:v>
                </c:pt>
              </c:numCache>
            </c:numRef>
          </c:cat>
          <c:val>
            <c:numRef>
              <c:f>Sheet2!$K$2:$Q$2</c:f>
              <c:numCache>
                <c:formatCode>General</c:formatCode>
                <c:ptCount val="7"/>
                <c:pt idx="0">
                  <c:v>23.404255319148938</c:v>
                </c:pt>
                <c:pt idx="1">
                  <c:v>22.929936305732483</c:v>
                </c:pt>
                <c:pt idx="2">
                  <c:v>23.717948717948719</c:v>
                </c:pt>
                <c:pt idx="3">
                  <c:v>22.978723404255319</c:v>
                </c:pt>
                <c:pt idx="4">
                  <c:v>23.142250530785564</c:v>
                </c:pt>
                <c:pt idx="5">
                  <c:v>24.353448275862068</c:v>
                </c:pt>
                <c:pt idx="6">
                  <c:v>25.596529284164859</c:v>
                </c:pt>
              </c:numCache>
            </c:numRef>
          </c:val>
          <c:extLst>
            <c:ext xmlns:c16="http://schemas.microsoft.com/office/drawing/2014/chart" uri="{C3380CC4-5D6E-409C-BE32-E72D297353CC}">
              <c16:uniqueId val="{00000000-A920-44AC-A959-B73A0B231F24}"/>
            </c:ext>
          </c:extLst>
        </c:ser>
        <c:ser>
          <c:idx val="1"/>
          <c:order val="1"/>
          <c:tx>
            <c:strRef>
              <c:f>Sheet2!$J$3</c:f>
              <c:strCache>
                <c:ptCount val="1"/>
                <c:pt idx="0">
                  <c:v>8k</c:v>
                </c:pt>
              </c:strCache>
            </c:strRef>
          </c:tx>
          <c:spPr>
            <a:gradFill rotWithShape="1">
              <a:gsLst>
                <a:gs pos="0">
                  <a:schemeClr val="accent2">
                    <a:lumMod val="110000"/>
                    <a:satMod val="105000"/>
                    <a:tint val="67000"/>
                  </a:schemeClr>
                </a:gs>
                <a:gs pos="50000">
                  <a:schemeClr val="accent2">
                    <a:lumMod val="105000"/>
                    <a:satMod val="103000"/>
                    <a:tint val="73000"/>
                  </a:schemeClr>
                </a:gs>
                <a:gs pos="100000">
                  <a:schemeClr val="accent2">
                    <a:lumMod val="105000"/>
                    <a:satMod val="109000"/>
                    <a:tint val="81000"/>
                  </a:schemeClr>
                </a:gs>
              </a:gsLst>
              <a:lin ang="5400000" scaled="0"/>
            </a:gradFill>
            <a:ln w="9525" cap="flat" cmpd="sng" algn="ctr">
              <a:solidFill>
                <a:schemeClr val="accent2">
                  <a:shade val="95000"/>
                </a:schemeClr>
              </a:solidFill>
              <a:round/>
            </a:ln>
            <a:effectLst/>
            <a:sp3d contourW="9525">
              <a:contourClr>
                <a:schemeClr val="accent2">
                  <a:shade val="95000"/>
                </a:schemeClr>
              </a:contourClr>
            </a:sp3d>
          </c:spPr>
          <c:invertIfNegative val="0"/>
          <c:cat>
            <c:numRef>
              <c:f>Sheet2!$K$1:$Q$1</c:f>
              <c:numCache>
                <c:formatCode>General</c:formatCode>
                <c:ptCount val="7"/>
                <c:pt idx="0">
                  <c:v>1</c:v>
                </c:pt>
                <c:pt idx="1">
                  <c:v>2</c:v>
                </c:pt>
                <c:pt idx="2">
                  <c:v>4</c:v>
                </c:pt>
                <c:pt idx="3">
                  <c:v>8</c:v>
                </c:pt>
                <c:pt idx="4">
                  <c:v>16</c:v>
                </c:pt>
                <c:pt idx="5">
                  <c:v>32</c:v>
                </c:pt>
                <c:pt idx="6">
                  <c:v>64</c:v>
                </c:pt>
              </c:numCache>
            </c:numRef>
          </c:cat>
          <c:val>
            <c:numRef>
              <c:f>Sheet2!$K$3:$Q$3</c:f>
              <c:numCache>
                <c:formatCode>General</c:formatCode>
                <c:ptCount val="7"/>
                <c:pt idx="0">
                  <c:v>15.550755939524837</c:v>
                </c:pt>
                <c:pt idx="1">
                  <c:v>17.419354838709676</c:v>
                </c:pt>
                <c:pt idx="2">
                  <c:v>17.672413793103448</c:v>
                </c:pt>
                <c:pt idx="3">
                  <c:v>18.398268398268399</c:v>
                </c:pt>
                <c:pt idx="4">
                  <c:v>17.965367965367964</c:v>
                </c:pt>
                <c:pt idx="5">
                  <c:v>17.903930131004365</c:v>
                </c:pt>
                <c:pt idx="6">
                  <c:v>17.660044150110377</c:v>
                </c:pt>
              </c:numCache>
            </c:numRef>
          </c:val>
          <c:extLst>
            <c:ext xmlns:c16="http://schemas.microsoft.com/office/drawing/2014/chart" uri="{C3380CC4-5D6E-409C-BE32-E72D297353CC}">
              <c16:uniqueId val="{00000001-A920-44AC-A959-B73A0B231F24}"/>
            </c:ext>
          </c:extLst>
        </c:ser>
        <c:ser>
          <c:idx val="2"/>
          <c:order val="2"/>
          <c:tx>
            <c:strRef>
              <c:f>Sheet2!$J$4</c:f>
              <c:strCache>
                <c:ptCount val="1"/>
                <c:pt idx="0">
                  <c:v>16k</c:v>
                </c:pt>
              </c:strCache>
            </c:strRef>
          </c:tx>
          <c:spPr>
            <a:gradFill rotWithShape="1">
              <a:gsLst>
                <a:gs pos="0">
                  <a:schemeClr val="accent3">
                    <a:lumMod val="110000"/>
                    <a:satMod val="105000"/>
                    <a:tint val="67000"/>
                  </a:schemeClr>
                </a:gs>
                <a:gs pos="50000">
                  <a:schemeClr val="accent3">
                    <a:lumMod val="105000"/>
                    <a:satMod val="103000"/>
                    <a:tint val="73000"/>
                  </a:schemeClr>
                </a:gs>
                <a:gs pos="100000">
                  <a:schemeClr val="accent3">
                    <a:lumMod val="105000"/>
                    <a:satMod val="109000"/>
                    <a:tint val="81000"/>
                  </a:schemeClr>
                </a:gs>
              </a:gsLst>
              <a:lin ang="5400000" scaled="0"/>
            </a:gradFill>
            <a:ln w="9525" cap="flat" cmpd="sng" algn="ctr">
              <a:solidFill>
                <a:schemeClr val="accent3">
                  <a:shade val="95000"/>
                </a:schemeClr>
              </a:solidFill>
              <a:round/>
            </a:ln>
            <a:effectLst/>
            <a:sp3d contourW="9525">
              <a:contourClr>
                <a:schemeClr val="accent3">
                  <a:shade val="95000"/>
                </a:schemeClr>
              </a:contourClr>
            </a:sp3d>
          </c:spPr>
          <c:invertIfNegative val="0"/>
          <c:cat>
            <c:numRef>
              <c:f>Sheet2!$K$1:$Q$1</c:f>
              <c:numCache>
                <c:formatCode>General</c:formatCode>
                <c:ptCount val="7"/>
                <c:pt idx="0">
                  <c:v>1</c:v>
                </c:pt>
                <c:pt idx="1">
                  <c:v>2</c:v>
                </c:pt>
                <c:pt idx="2">
                  <c:v>4</c:v>
                </c:pt>
                <c:pt idx="3">
                  <c:v>8</c:v>
                </c:pt>
                <c:pt idx="4">
                  <c:v>16</c:v>
                </c:pt>
                <c:pt idx="5">
                  <c:v>32</c:v>
                </c:pt>
                <c:pt idx="6">
                  <c:v>64</c:v>
                </c:pt>
              </c:numCache>
            </c:numRef>
          </c:cat>
          <c:val>
            <c:numRef>
              <c:f>Sheet2!$K$4:$Q$4</c:f>
              <c:numCache>
                <c:formatCode>General</c:formatCode>
                <c:ptCount val="7"/>
                <c:pt idx="0">
                  <c:v>11.848341232227488</c:v>
                </c:pt>
                <c:pt idx="1">
                  <c:v>11.556603773584905</c:v>
                </c:pt>
                <c:pt idx="2">
                  <c:v>11.556603773584905</c:v>
                </c:pt>
                <c:pt idx="3">
                  <c:v>11.163895486935868</c:v>
                </c:pt>
                <c:pt idx="4">
                  <c:v>9.1549295774647881</c:v>
                </c:pt>
                <c:pt idx="5">
                  <c:v>6.4285714285714288</c:v>
                </c:pt>
                <c:pt idx="6">
                  <c:v>8.8516746411483247</c:v>
                </c:pt>
              </c:numCache>
            </c:numRef>
          </c:val>
          <c:extLst>
            <c:ext xmlns:c16="http://schemas.microsoft.com/office/drawing/2014/chart" uri="{C3380CC4-5D6E-409C-BE32-E72D297353CC}">
              <c16:uniqueId val="{00000002-A920-44AC-A959-B73A0B231F24}"/>
            </c:ext>
          </c:extLst>
        </c:ser>
        <c:ser>
          <c:idx val="3"/>
          <c:order val="3"/>
          <c:tx>
            <c:strRef>
              <c:f>Sheet2!$J$5</c:f>
              <c:strCache>
                <c:ptCount val="1"/>
                <c:pt idx="0">
                  <c:v>32k</c:v>
                </c:pt>
              </c:strCache>
            </c:strRef>
          </c:tx>
          <c:spPr>
            <a:gradFill rotWithShape="1">
              <a:gsLst>
                <a:gs pos="0">
                  <a:schemeClr val="accent4">
                    <a:lumMod val="110000"/>
                    <a:satMod val="105000"/>
                    <a:tint val="67000"/>
                  </a:schemeClr>
                </a:gs>
                <a:gs pos="50000">
                  <a:schemeClr val="accent4">
                    <a:lumMod val="105000"/>
                    <a:satMod val="103000"/>
                    <a:tint val="73000"/>
                  </a:schemeClr>
                </a:gs>
                <a:gs pos="100000">
                  <a:schemeClr val="accent4">
                    <a:lumMod val="105000"/>
                    <a:satMod val="109000"/>
                    <a:tint val="81000"/>
                  </a:schemeClr>
                </a:gs>
              </a:gsLst>
              <a:lin ang="5400000" scaled="0"/>
            </a:gradFill>
            <a:ln w="9525" cap="flat" cmpd="sng" algn="ctr">
              <a:solidFill>
                <a:schemeClr val="accent4">
                  <a:shade val="95000"/>
                </a:schemeClr>
              </a:solidFill>
              <a:round/>
            </a:ln>
            <a:effectLst/>
            <a:sp3d contourW="9525">
              <a:contourClr>
                <a:schemeClr val="accent4">
                  <a:shade val="95000"/>
                </a:schemeClr>
              </a:contourClr>
            </a:sp3d>
          </c:spPr>
          <c:invertIfNegative val="0"/>
          <c:cat>
            <c:numRef>
              <c:f>Sheet2!$K$1:$Q$1</c:f>
              <c:numCache>
                <c:formatCode>General</c:formatCode>
                <c:ptCount val="7"/>
                <c:pt idx="0">
                  <c:v>1</c:v>
                </c:pt>
                <c:pt idx="1">
                  <c:v>2</c:v>
                </c:pt>
                <c:pt idx="2">
                  <c:v>4</c:v>
                </c:pt>
                <c:pt idx="3">
                  <c:v>8</c:v>
                </c:pt>
                <c:pt idx="4">
                  <c:v>16</c:v>
                </c:pt>
                <c:pt idx="5">
                  <c:v>32</c:v>
                </c:pt>
                <c:pt idx="6">
                  <c:v>64</c:v>
                </c:pt>
              </c:numCache>
            </c:numRef>
          </c:cat>
          <c:val>
            <c:numRef>
              <c:f>Sheet2!$K$5:$Q$5</c:f>
              <c:numCache>
                <c:formatCode>General</c:formatCode>
                <c:ptCount val="7"/>
                <c:pt idx="0">
                  <c:v>8.4033613445378155</c:v>
                </c:pt>
                <c:pt idx="1">
                  <c:v>4.7752808988764048</c:v>
                </c:pt>
                <c:pt idx="2">
                  <c:v>2.2346368715083798</c:v>
                </c:pt>
                <c:pt idx="3">
                  <c:v>0.28011204481792717</c:v>
                </c:pt>
                <c:pt idx="4">
                  <c:v>-1.9553072625698324</c:v>
                </c:pt>
                <c:pt idx="5">
                  <c:v>0.28169014084507044</c:v>
                </c:pt>
                <c:pt idx="6">
                  <c:v>-1.7094017094017093</c:v>
                </c:pt>
              </c:numCache>
            </c:numRef>
          </c:val>
          <c:extLst>
            <c:ext xmlns:c16="http://schemas.microsoft.com/office/drawing/2014/chart" uri="{C3380CC4-5D6E-409C-BE32-E72D297353CC}">
              <c16:uniqueId val="{00000003-A920-44AC-A959-B73A0B231F24}"/>
            </c:ext>
          </c:extLst>
        </c:ser>
        <c:ser>
          <c:idx val="4"/>
          <c:order val="4"/>
          <c:tx>
            <c:strRef>
              <c:f>Sheet2!$J$6</c:f>
              <c:strCache>
                <c:ptCount val="1"/>
                <c:pt idx="0">
                  <c:v>64k</c:v>
                </c:pt>
              </c:strCache>
            </c:strRef>
          </c:tx>
          <c:spPr>
            <a:gradFill rotWithShape="1">
              <a:gsLst>
                <a:gs pos="0">
                  <a:schemeClr val="accent5">
                    <a:lumMod val="110000"/>
                    <a:satMod val="105000"/>
                    <a:tint val="67000"/>
                  </a:schemeClr>
                </a:gs>
                <a:gs pos="50000">
                  <a:schemeClr val="accent5">
                    <a:lumMod val="105000"/>
                    <a:satMod val="103000"/>
                    <a:tint val="73000"/>
                  </a:schemeClr>
                </a:gs>
                <a:gs pos="100000">
                  <a:schemeClr val="accent5">
                    <a:lumMod val="105000"/>
                    <a:satMod val="109000"/>
                    <a:tint val="81000"/>
                  </a:schemeClr>
                </a:gs>
              </a:gsLst>
              <a:lin ang="5400000" scaled="0"/>
            </a:gradFill>
            <a:ln w="9525" cap="flat" cmpd="sng" algn="ctr">
              <a:solidFill>
                <a:schemeClr val="accent5">
                  <a:shade val="95000"/>
                </a:schemeClr>
              </a:solidFill>
              <a:round/>
            </a:ln>
            <a:effectLst/>
            <a:sp3d contourW="9525">
              <a:contourClr>
                <a:schemeClr val="accent5">
                  <a:shade val="95000"/>
                </a:schemeClr>
              </a:contourClr>
            </a:sp3d>
          </c:spPr>
          <c:invertIfNegative val="0"/>
          <c:cat>
            <c:numRef>
              <c:f>Sheet2!$K$1:$Q$1</c:f>
              <c:numCache>
                <c:formatCode>General</c:formatCode>
                <c:ptCount val="7"/>
                <c:pt idx="0">
                  <c:v>1</c:v>
                </c:pt>
                <c:pt idx="1">
                  <c:v>2</c:v>
                </c:pt>
                <c:pt idx="2">
                  <c:v>4</c:v>
                </c:pt>
                <c:pt idx="3">
                  <c:v>8</c:v>
                </c:pt>
                <c:pt idx="4">
                  <c:v>16</c:v>
                </c:pt>
                <c:pt idx="5">
                  <c:v>32</c:v>
                </c:pt>
                <c:pt idx="6">
                  <c:v>64</c:v>
                </c:pt>
              </c:numCache>
            </c:numRef>
          </c:cat>
          <c:val>
            <c:numRef>
              <c:f>Sheet2!$K$6:$Q$6</c:f>
              <c:numCache>
                <c:formatCode>General</c:formatCode>
                <c:ptCount val="7"/>
                <c:pt idx="0">
                  <c:v>10.035842293906811</c:v>
                </c:pt>
                <c:pt idx="1">
                  <c:v>7.5268817204301079</c:v>
                </c:pt>
                <c:pt idx="2">
                  <c:v>6.7857142857142856</c:v>
                </c:pt>
                <c:pt idx="3">
                  <c:v>3.225806451612903</c:v>
                </c:pt>
                <c:pt idx="4">
                  <c:v>2.1818181818181817</c:v>
                </c:pt>
                <c:pt idx="5">
                  <c:v>1.4705882352941178</c:v>
                </c:pt>
                <c:pt idx="6">
                  <c:v>5.5147058823529411</c:v>
                </c:pt>
              </c:numCache>
            </c:numRef>
          </c:val>
          <c:extLst>
            <c:ext xmlns:c16="http://schemas.microsoft.com/office/drawing/2014/chart" uri="{C3380CC4-5D6E-409C-BE32-E72D297353CC}">
              <c16:uniqueId val="{00000004-A920-44AC-A959-B73A0B231F24}"/>
            </c:ext>
          </c:extLst>
        </c:ser>
        <c:ser>
          <c:idx val="5"/>
          <c:order val="5"/>
          <c:tx>
            <c:strRef>
              <c:f>Sheet2!$J$7</c:f>
              <c:strCache>
                <c:ptCount val="1"/>
                <c:pt idx="0">
                  <c:v>128k</c:v>
                </c:pt>
              </c:strCache>
            </c:strRef>
          </c:tx>
          <c:spPr>
            <a:gradFill rotWithShape="1">
              <a:gsLst>
                <a:gs pos="0">
                  <a:schemeClr val="accent6">
                    <a:lumMod val="110000"/>
                    <a:satMod val="105000"/>
                    <a:tint val="67000"/>
                  </a:schemeClr>
                </a:gs>
                <a:gs pos="50000">
                  <a:schemeClr val="accent6">
                    <a:lumMod val="105000"/>
                    <a:satMod val="103000"/>
                    <a:tint val="73000"/>
                  </a:schemeClr>
                </a:gs>
                <a:gs pos="100000">
                  <a:schemeClr val="accent6">
                    <a:lumMod val="105000"/>
                    <a:satMod val="109000"/>
                    <a:tint val="81000"/>
                  </a:schemeClr>
                </a:gs>
              </a:gsLst>
              <a:lin ang="5400000" scaled="0"/>
            </a:gradFill>
            <a:ln w="9525" cap="flat" cmpd="sng" algn="ctr">
              <a:solidFill>
                <a:schemeClr val="accent6">
                  <a:shade val="95000"/>
                </a:schemeClr>
              </a:solidFill>
              <a:round/>
            </a:ln>
            <a:effectLst/>
            <a:sp3d contourW="9525">
              <a:contourClr>
                <a:schemeClr val="accent6">
                  <a:shade val="95000"/>
                </a:schemeClr>
              </a:contourClr>
            </a:sp3d>
          </c:spPr>
          <c:invertIfNegative val="0"/>
          <c:cat>
            <c:numRef>
              <c:f>Sheet2!$K$1:$Q$1</c:f>
              <c:numCache>
                <c:formatCode>General</c:formatCode>
                <c:ptCount val="7"/>
                <c:pt idx="0">
                  <c:v>1</c:v>
                </c:pt>
                <c:pt idx="1">
                  <c:v>2</c:v>
                </c:pt>
                <c:pt idx="2">
                  <c:v>4</c:v>
                </c:pt>
                <c:pt idx="3">
                  <c:v>8</c:v>
                </c:pt>
                <c:pt idx="4">
                  <c:v>16</c:v>
                </c:pt>
                <c:pt idx="5">
                  <c:v>32</c:v>
                </c:pt>
                <c:pt idx="6">
                  <c:v>64</c:v>
                </c:pt>
              </c:numCache>
            </c:numRef>
          </c:cat>
          <c:val>
            <c:numRef>
              <c:f>Sheet2!$K$7:$Q$7</c:f>
              <c:numCache>
                <c:formatCode>General</c:formatCode>
                <c:ptCount val="7"/>
                <c:pt idx="0">
                  <c:v>24.873096446700508</c:v>
                </c:pt>
                <c:pt idx="1">
                  <c:v>18.592964824120603</c:v>
                </c:pt>
                <c:pt idx="2">
                  <c:v>15.5</c:v>
                </c:pt>
                <c:pt idx="3">
                  <c:v>20.512820512820515</c:v>
                </c:pt>
                <c:pt idx="4">
                  <c:v>18.134715025906736</c:v>
                </c:pt>
                <c:pt idx="5">
                  <c:v>22.340425531914892</c:v>
                </c:pt>
                <c:pt idx="6">
                  <c:v>25.906735751295336</c:v>
                </c:pt>
              </c:numCache>
            </c:numRef>
          </c:val>
          <c:extLst>
            <c:ext xmlns:c16="http://schemas.microsoft.com/office/drawing/2014/chart" uri="{C3380CC4-5D6E-409C-BE32-E72D297353CC}">
              <c16:uniqueId val="{00000005-A920-44AC-A959-B73A0B231F24}"/>
            </c:ext>
          </c:extLst>
        </c:ser>
        <c:ser>
          <c:idx val="6"/>
          <c:order val="6"/>
          <c:tx>
            <c:strRef>
              <c:f>Sheet2!$J$8</c:f>
              <c:strCache>
                <c:ptCount val="1"/>
                <c:pt idx="0">
                  <c:v>256k</c:v>
                </c:pt>
              </c:strCache>
            </c:strRef>
          </c:tx>
          <c:spPr>
            <a:gradFill rotWithShape="1">
              <a:gsLst>
                <a:gs pos="0">
                  <a:schemeClr val="accent1">
                    <a:lumMod val="60000"/>
                    <a:lumMod val="110000"/>
                    <a:satMod val="105000"/>
                    <a:tint val="67000"/>
                  </a:schemeClr>
                </a:gs>
                <a:gs pos="50000">
                  <a:schemeClr val="accent1">
                    <a:lumMod val="60000"/>
                    <a:lumMod val="105000"/>
                    <a:satMod val="103000"/>
                    <a:tint val="73000"/>
                  </a:schemeClr>
                </a:gs>
                <a:gs pos="100000">
                  <a:schemeClr val="accent1">
                    <a:lumMod val="60000"/>
                    <a:lumMod val="105000"/>
                    <a:satMod val="109000"/>
                    <a:tint val="81000"/>
                  </a:schemeClr>
                </a:gs>
              </a:gsLst>
              <a:lin ang="5400000" scaled="0"/>
            </a:gradFill>
            <a:ln w="9525" cap="flat" cmpd="sng" algn="ctr">
              <a:solidFill>
                <a:schemeClr val="accent1">
                  <a:lumMod val="60000"/>
                  <a:shade val="95000"/>
                </a:schemeClr>
              </a:solidFill>
              <a:round/>
            </a:ln>
            <a:effectLst/>
            <a:sp3d contourW="9525">
              <a:contourClr>
                <a:schemeClr val="accent1">
                  <a:lumMod val="60000"/>
                  <a:shade val="95000"/>
                </a:schemeClr>
              </a:contourClr>
            </a:sp3d>
          </c:spPr>
          <c:invertIfNegative val="0"/>
          <c:cat>
            <c:numRef>
              <c:f>Sheet2!$K$1:$Q$1</c:f>
              <c:numCache>
                <c:formatCode>General</c:formatCode>
                <c:ptCount val="7"/>
                <c:pt idx="0">
                  <c:v>1</c:v>
                </c:pt>
                <c:pt idx="1">
                  <c:v>2</c:v>
                </c:pt>
                <c:pt idx="2">
                  <c:v>4</c:v>
                </c:pt>
                <c:pt idx="3">
                  <c:v>8</c:v>
                </c:pt>
                <c:pt idx="4">
                  <c:v>16</c:v>
                </c:pt>
                <c:pt idx="5">
                  <c:v>32</c:v>
                </c:pt>
                <c:pt idx="6">
                  <c:v>64</c:v>
                </c:pt>
              </c:numCache>
            </c:numRef>
          </c:cat>
          <c:val>
            <c:numRef>
              <c:f>Sheet2!$K$8:$Q$8</c:f>
              <c:numCache>
                <c:formatCode>General</c:formatCode>
                <c:ptCount val="7"/>
                <c:pt idx="0">
                  <c:v>58.196721311475407</c:v>
                </c:pt>
                <c:pt idx="1">
                  <c:v>37.5</c:v>
                </c:pt>
                <c:pt idx="2">
                  <c:v>39.25925925925926</c:v>
                </c:pt>
                <c:pt idx="3">
                  <c:v>42.537313432835823</c:v>
                </c:pt>
                <c:pt idx="4">
                  <c:v>37.037037037037038</c:v>
                </c:pt>
                <c:pt idx="5">
                  <c:v>34.814814814814817</c:v>
                </c:pt>
                <c:pt idx="6">
                  <c:v>37.878787878787875</c:v>
                </c:pt>
              </c:numCache>
            </c:numRef>
          </c:val>
          <c:extLst>
            <c:ext xmlns:c16="http://schemas.microsoft.com/office/drawing/2014/chart" uri="{C3380CC4-5D6E-409C-BE32-E72D297353CC}">
              <c16:uniqueId val="{00000006-A920-44AC-A959-B73A0B231F24}"/>
            </c:ext>
          </c:extLst>
        </c:ser>
        <c:ser>
          <c:idx val="7"/>
          <c:order val="7"/>
          <c:tx>
            <c:strRef>
              <c:f>Sheet2!$J$9</c:f>
              <c:strCache>
                <c:ptCount val="1"/>
                <c:pt idx="0">
                  <c:v>512k</c:v>
                </c:pt>
              </c:strCache>
            </c:strRef>
          </c:tx>
          <c:spPr>
            <a:gradFill rotWithShape="1">
              <a:gsLst>
                <a:gs pos="0">
                  <a:schemeClr val="accent2">
                    <a:lumMod val="60000"/>
                    <a:lumMod val="110000"/>
                    <a:satMod val="105000"/>
                    <a:tint val="67000"/>
                  </a:schemeClr>
                </a:gs>
                <a:gs pos="50000">
                  <a:schemeClr val="accent2">
                    <a:lumMod val="60000"/>
                    <a:lumMod val="105000"/>
                    <a:satMod val="103000"/>
                    <a:tint val="73000"/>
                  </a:schemeClr>
                </a:gs>
                <a:gs pos="100000">
                  <a:schemeClr val="accent2">
                    <a:lumMod val="60000"/>
                    <a:lumMod val="105000"/>
                    <a:satMod val="109000"/>
                    <a:tint val="81000"/>
                  </a:schemeClr>
                </a:gs>
              </a:gsLst>
              <a:lin ang="5400000" scaled="0"/>
            </a:gradFill>
            <a:ln w="9525" cap="flat" cmpd="sng" algn="ctr">
              <a:solidFill>
                <a:schemeClr val="accent2">
                  <a:lumMod val="60000"/>
                  <a:shade val="95000"/>
                </a:schemeClr>
              </a:solidFill>
              <a:round/>
            </a:ln>
            <a:effectLst/>
            <a:sp3d contourW="9525">
              <a:contourClr>
                <a:schemeClr val="accent2">
                  <a:lumMod val="60000"/>
                  <a:shade val="95000"/>
                </a:schemeClr>
              </a:contourClr>
            </a:sp3d>
          </c:spPr>
          <c:invertIfNegative val="0"/>
          <c:cat>
            <c:numRef>
              <c:f>Sheet2!$K$1:$Q$1</c:f>
              <c:numCache>
                <c:formatCode>General</c:formatCode>
                <c:ptCount val="7"/>
                <c:pt idx="0">
                  <c:v>1</c:v>
                </c:pt>
                <c:pt idx="1">
                  <c:v>2</c:v>
                </c:pt>
                <c:pt idx="2">
                  <c:v>4</c:v>
                </c:pt>
                <c:pt idx="3">
                  <c:v>8</c:v>
                </c:pt>
                <c:pt idx="4">
                  <c:v>16</c:v>
                </c:pt>
                <c:pt idx="5">
                  <c:v>32</c:v>
                </c:pt>
                <c:pt idx="6">
                  <c:v>64</c:v>
                </c:pt>
              </c:numCache>
            </c:numRef>
          </c:cat>
          <c:val>
            <c:numRef>
              <c:f>Sheet2!$K$9:$Q$9</c:f>
              <c:numCache>
                <c:formatCode>General</c:formatCode>
                <c:ptCount val="7"/>
                <c:pt idx="0">
                  <c:v>54.444444444444443</c:v>
                </c:pt>
                <c:pt idx="1">
                  <c:v>57.303370786516851</c:v>
                </c:pt>
                <c:pt idx="2">
                  <c:v>49.462365591397848</c:v>
                </c:pt>
                <c:pt idx="3">
                  <c:v>48.421052631578945</c:v>
                </c:pt>
                <c:pt idx="4">
                  <c:v>35.922330097087375</c:v>
                </c:pt>
                <c:pt idx="5">
                  <c:v>20.17543859649123</c:v>
                </c:pt>
                <c:pt idx="6">
                  <c:v>10.236220472440944</c:v>
                </c:pt>
              </c:numCache>
            </c:numRef>
          </c:val>
          <c:extLst>
            <c:ext xmlns:c16="http://schemas.microsoft.com/office/drawing/2014/chart" uri="{C3380CC4-5D6E-409C-BE32-E72D297353CC}">
              <c16:uniqueId val="{00000007-A920-44AC-A959-B73A0B231F24}"/>
            </c:ext>
          </c:extLst>
        </c:ser>
        <c:ser>
          <c:idx val="8"/>
          <c:order val="8"/>
          <c:tx>
            <c:strRef>
              <c:f>Sheet2!$J$10</c:f>
              <c:strCache>
                <c:ptCount val="1"/>
                <c:pt idx="0">
                  <c:v>1024k</c:v>
                </c:pt>
              </c:strCache>
            </c:strRef>
          </c:tx>
          <c:spPr>
            <a:gradFill rotWithShape="1">
              <a:gsLst>
                <a:gs pos="0">
                  <a:schemeClr val="accent3">
                    <a:lumMod val="60000"/>
                    <a:lumMod val="110000"/>
                    <a:satMod val="105000"/>
                    <a:tint val="67000"/>
                  </a:schemeClr>
                </a:gs>
                <a:gs pos="50000">
                  <a:schemeClr val="accent3">
                    <a:lumMod val="60000"/>
                    <a:lumMod val="105000"/>
                    <a:satMod val="103000"/>
                    <a:tint val="73000"/>
                  </a:schemeClr>
                </a:gs>
                <a:gs pos="100000">
                  <a:schemeClr val="accent3">
                    <a:lumMod val="60000"/>
                    <a:lumMod val="105000"/>
                    <a:satMod val="109000"/>
                    <a:tint val="81000"/>
                  </a:schemeClr>
                </a:gs>
              </a:gsLst>
              <a:lin ang="5400000" scaled="0"/>
            </a:gradFill>
            <a:ln w="9525" cap="flat" cmpd="sng" algn="ctr">
              <a:solidFill>
                <a:schemeClr val="accent3">
                  <a:lumMod val="60000"/>
                  <a:shade val="95000"/>
                </a:schemeClr>
              </a:solidFill>
              <a:round/>
            </a:ln>
            <a:effectLst/>
            <a:sp3d contourW="9525">
              <a:contourClr>
                <a:schemeClr val="accent3">
                  <a:lumMod val="60000"/>
                  <a:shade val="95000"/>
                </a:schemeClr>
              </a:contourClr>
            </a:sp3d>
          </c:spPr>
          <c:invertIfNegative val="0"/>
          <c:cat>
            <c:numRef>
              <c:f>Sheet2!$K$1:$Q$1</c:f>
              <c:numCache>
                <c:formatCode>General</c:formatCode>
                <c:ptCount val="7"/>
                <c:pt idx="0">
                  <c:v>1</c:v>
                </c:pt>
                <c:pt idx="1">
                  <c:v>2</c:v>
                </c:pt>
                <c:pt idx="2">
                  <c:v>4</c:v>
                </c:pt>
                <c:pt idx="3">
                  <c:v>8</c:v>
                </c:pt>
                <c:pt idx="4">
                  <c:v>16</c:v>
                </c:pt>
                <c:pt idx="5">
                  <c:v>32</c:v>
                </c:pt>
                <c:pt idx="6">
                  <c:v>64</c:v>
                </c:pt>
              </c:numCache>
            </c:numRef>
          </c:cat>
          <c:val>
            <c:numRef>
              <c:f>Sheet2!$K$10:$Q$10</c:f>
              <c:numCache>
                <c:formatCode>General</c:formatCode>
                <c:ptCount val="7"/>
                <c:pt idx="0">
                  <c:v>78.571428571428569</c:v>
                </c:pt>
                <c:pt idx="1">
                  <c:v>62.295081967213115</c:v>
                </c:pt>
                <c:pt idx="2">
                  <c:v>47.761194029850749</c:v>
                </c:pt>
                <c:pt idx="3">
                  <c:v>33.783783783783782</c:v>
                </c:pt>
                <c:pt idx="4">
                  <c:v>20.987654320987655</c:v>
                </c:pt>
                <c:pt idx="5">
                  <c:v>15.294117647058824</c:v>
                </c:pt>
                <c:pt idx="6">
                  <c:v>16.091954022988507</c:v>
                </c:pt>
              </c:numCache>
            </c:numRef>
          </c:val>
          <c:extLst>
            <c:ext xmlns:c16="http://schemas.microsoft.com/office/drawing/2014/chart" uri="{C3380CC4-5D6E-409C-BE32-E72D297353CC}">
              <c16:uniqueId val="{00000008-A920-44AC-A959-B73A0B231F24}"/>
            </c:ext>
          </c:extLst>
        </c:ser>
        <c:ser>
          <c:idx val="9"/>
          <c:order val="9"/>
          <c:tx>
            <c:strRef>
              <c:f>Sheet2!$J$11</c:f>
              <c:strCache>
                <c:ptCount val="1"/>
                <c:pt idx="0">
                  <c:v>2048k</c:v>
                </c:pt>
              </c:strCache>
            </c:strRef>
          </c:tx>
          <c:spPr>
            <a:gradFill rotWithShape="1">
              <a:gsLst>
                <a:gs pos="0">
                  <a:schemeClr val="accent4">
                    <a:lumMod val="60000"/>
                    <a:lumMod val="110000"/>
                    <a:satMod val="105000"/>
                    <a:tint val="67000"/>
                  </a:schemeClr>
                </a:gs>
                <a:gs pos="50000">
                  <a:schemeClr val="accent4">
                    <a:lumMod val="60000"/>
                    <a:lumMod val="105000"/>
                    <a:satMod val="103000"/>
                    <a:tint val="73000"/>
                  </a:schemeClr>
                </a:gs>
                <a:gs pos="100000">
                  <a:schemeClr val="accent4">
                    <a:lumMod val="60000"/>
                    <a:lumMod val="105000"/>
                    <a:satMod val="109000"/>
                    <a:tint val="81000"/>
                  </a:schemeClr>
                </a:gs>
              </a:gsLst>
              <a:lin ang="5400000" scaled="0"/>
            </a:gradFill>
            <a:ln w="9525" cap="flat" cmpd="sng" algn="ctr">
              <a:solidFill>
                <a:schemeClr val="accent4">
                  <a:lumMod val="60000"/>
                  <a:shade val="95000"/>
                </a:schemeClr>
              </a:solidFill>
              <a:round/>
            </a:ln>
            <a:effectLst/>
            <a:sp3d contourW="9525">
              <a:contourClr>
                <a:schemeClr val="accent4">
                  <a:lumMod val="60000"/>
                  <a:shade val="95000"/>
                </a:schemeClr>
              </a:contourClr>
            </a:sp3d>
          </c:spPr>
          <c:invertIfNegative val="0"/>
          <c:cat>
            <c:numRef>
              <c:f>Sheet2!$K$1:$Q$1</c:f>
              <c:numCache>
                <c:formatCode>General</c:formatCode>
                <c:ptCount val="7"/>
                <c:pt idx="0">
                  <c:v>1</c:v>
                </c:pt>
                <c:pt idx="1">
                  <c:v>2</c:v>
                </c:pt>
                <c:pt idx="2">
                  <c:v>4</c:v>
                </c:pt>
                <c:pt idx="3">
                  <c:v>8</c:v>
                </c:pt>
                <c:pt idx="4">
                  <c:v>16</c:v>
                </c:pt>
                <c:pt idx="5">
                  <c:v>32</c:v>
                </c:pt>
                <c:pt idx="6">
                  <c:v>64</c:v>
                </c:pt>
              </c:numCache>
            </c:numRef>
          </c:cat>
          <c:val>
            <c:numRef>
              <c:f>Sheet2!$K$11:$Q$11</c:f>
              <c:numCache>
                <c:formatCode>General</c:formatCode>
                <c:ptCount val="7"/>
                <c:pt idx="0">
                  <c:v>47.727272727272727</c:v>
                </c:pt>
                <c:pt idx="1">
                  <c:v>41.304347826086953</c:v>
                </c:pt>
                <c:pt idx="2">
                  <c:v>25.490196078431371</c:v>
                </c:pt>
                <c:pt idx="3">
                  <c:v>22.641509433962263</c:v>
                </c:pt>
                <c:pt idx="4">
                  <c:v>10.526315789473685</c:v>
                </c:pt>
                <c:pt idx="5">
                  <c:v>-1.6949152542372881</c:v>
                </c:pt>
                <c:pt idx="6">
                  <c:v>-5</c:v>
                </c:pt>
              </c:numCache>
            </c:numRef>
          </c:val>
          <c:extLst>
            <c:ext xmlns:c16="http://schemas.microsoft.com/office/drawing/2014/chart" uri="{C3380CC4-5D6E-409C-BE32-E72D297353CC}">
              <c16:uniqueId val="{00000009-A920-44AC-A959-B73A0B231F24}"/>
            </c:ext>
          </c:extLst>
        </c:ser>
        <c:dLbls>
          <c:showLegendKey val="0"/>
          <c:showVal val="0"/>
          <c:showCatName val="0"/>
          <c:showSerName val="0"/>
          <c:showPercent val="0"/>
          <c:showBubbleSize val="0"/>
        </c:dLbls>
        <c:gapWidth val="150"/>
        <c:shape val="box"/>
        <c:axId val="802895504"/>
        <c:axId val="802900496"/>
        <c:axId val="553052560"/>
      </c:bar3DChart>
      <c:catAx>
        <c:axId val="802895504"/>
        <c:scaling>
          <c:orientation val="minMax"/>
        </c:scaling>
        <c:delete val="0"/>
        <c:axPos val="b"/>
        <c:title>
          <c:tx>
            <c:rich>
              <a:bodyPr rot="0" spcFirstLastPara="1" vertOverflow="ellipsis" vert="horz" wrap="square" anchor="ctr" anchorCtr="1"/>
              <a:lstStyle/>
              <a:p>
                <a:pPr>
                  <a:defRPr sz="900" b="0" i="0" u="none" strike="noStrike" kern="1200" cap="all" baseline="0">
                    <a:solidFill>
                      <a:schemeClr val="tx1">
                        <a:lumMod val="50000"/>
                        <a:lumOff val="50000"/>
                      </a:schemeClr>
                    </a:solidFill>
                    <a:latin typeface="+mn-lt"/>
                    <a:ea typeface="+mn-ea"/>
                    <a:cs typeface="+mn-cs"/>
                  </a:defRPr>
                </a:pPr>
                <a:r>
                  <a:rPr lang="en-US"/>
                  <a:t>queue depth</a:t>
                </a:r>
              </a:p>
            </c:rich>
          </c:tx>
          <c:overlay val="0"/>
          <c:spPr>
            <a:noFill/>
            <a:ln>
              <a:noFill/>
            </a:ln>
            <a:effectLst/>
          </c:spPr>
          <c:txPr>
            <a:bodyPr rot="0" spcFirstLastPara="1" vertOverflow="ellipsis" vert="horz" wrap="square" anchor="ctr" anchorCtr="1"/>
            <a:lstStyle/>
            <a:p>
              <a:pPr>
                <a:defRPr sz="900" b="0" i="0" u="none" strike="noStrike" kern="1200" cap="all" baseline="0">
                  <a:solidFill>
                    <a:schemeClr val="tx1">
                      <a:lumMod val="50000"/>
                      <a:lumOff val="50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50000"/>
                    <a:lumOff val="50000"/>
                  </a:schemeClr>
                </a:solidFill>
                <a:latin typeface="+mn-lt"/>
                <a:ea typeface="+mn-ea"/>
                <a:cs typeface="+mn-cs"/>
              </a:defRPr>
            </a:pPr>
            <a:endParaRPr lang="en-US"/>
          </a:p>
        </c:txPr>
        <c:crossAx val="802900496"/>
        <c:crosses val="autoZero"/>
        <c:auto val="1"/>
        <c:lblAlgn val="ctr"/>
        <c:lblOffset val="100"/>
        <c:noMultiLvlLbl val="0"/>
      </c:catAx>
      <c:valAx>
        <c:axId val="802900496"/>
        <c:scaling>
          <c:orientation val="minMax"/>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900" b="0" i="0" u="none" strike="noStrike" kern="1200" cap="all" baseline="0">
                    <a:solidFill>
                      <a:schemeClr val="tx1">
                        <a:lumMod val="50000"/>
                        <a:lumOff val="50000"/>
                      </a:schemeClr>
                    </a:solidFill>
                    <a:latin typeface="+mn-lt"/>
                    <a:ea typeface="+mn-ea"/>
                    <a:cs typeface="+mn-cs"/>
                  </a:defRPr>
                </a:pPr>
                <a:r>
                  <a:rPr lang="en-US"/>
                  <a:t>%IOPS increase</a:t>
                </a:r>
              </a:p>
            </c:rich>
          </c:tx>
          <c:overlay val="0"/>
          <c:spPr>
            <a:noFill/>
            <a:ln>
              <a:noFill/>
            </a:ln>
            <a:effectLst/>
          </c:spPr>
          <c:txPr>
            <a:bodyPr rot="-5400000" spcFirstLastPara="1" vertOverflow="ellipsis" vert="horz" wrap="square" anchor="ctr" anchorCtr="1"/>
            <a:lstStyle/>
            <a:p>
              <a:pPr>
                <a:defRPr sz="900" b="0" i="0" u="none" strike="noStrike" kern="1200" cap="all" baseline="0">
                  <a:solidFill>
                    <a:schemeClr val="tx1">
                      <a:lumMod val="50000"/>
                      <a:lumOff val="50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50000"/>
                    <a:lumOff val="50000"/>
                  </a:schemeClr>
                </a:solidFill>
                <a:latin typeface="+mn-lt"/>
                <a:ea typeface="+mn-ea"/>
                <a:cs typeface="+mn-cs"/>
              </a:defRPr>
            </a:pPr>
            <a:endParaRPr lang="en-US"/>
          </a:p>
        </c:txPr>
        <c:crossAx val="802895504"/>
        <c:crosses val="autoZero"/>
        <c:crossBetween val="between"/>
      </c:valAx>
      <c:serAx>
        <c:axId val="553052560"/>
        <c:scaling>
          <c:orientation val="minMax"/>
        </c:scaling>
        <c:delete val="0"/>
        <c:axPos val="b"/>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50000"/>
                    <a:lumOff val="50000"/>
                  </a:schemeClr>
                </a:solidFill>
                <a:latin typeface="+mn-lt"/>
                <a:ea typeface="+mn-ea"/>
                <a:cs typeface="+mn-cs"/>
              </a:defRPr>
            </a:pPr>
            <a:endParaRPr lang="en-US"/>
          </a:p>
        </c:txPr>
        <c:crossAx val="802900496"/>
        <c:crosses val="autoZero"/>
      </c:ser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50000"/>
                  <a:lumOff val="50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89">
  <cs:axisTitle>
    <cs:lnRef idx="0"/>
    <cs:fillRef idx="0"/>
    <cs:effectRef idx="0"/>
    <cs:fontRef idx="minor">
      <a:schemeClr val="tx1">
        <a:lumMod val="50000"/>
        <a:lumOff val="50000"/>
      </a:schemeClr>
    </cs:fontRef>
    <cs:defRPr sz="900" kern="1200" cap="all"/>
  </cs:axisTitle>
  <cs:categoryAxis>
    <cs:lnRef idx="0"/>
    <cs:fillRef idx="0"/>
    <cs:effectRef idx="0"/>
    <cs:fontRef idx="minor">
      <a:schemeClr val="tx1">
        <a:lumMod val="50000"/>
        <a:lumOff val="50000"/>
      </a:schemeClr>
    </cs:fontRef>
    <cs:defRPr sz="900"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3D>
  <cs:dataPointLine>
    <cs:lnRef idx="0">
      <cs:styleClr val="auto"/>
    </cs:lnRef>
    <cs:fillRef idx="2">
      <cs:styleClr val="auto"/>
    </cs:fillRef>
    <cs:effectRef idx="1"/>
    <cs:fontRef idx="minor">
      <a:schemeClr val="dk1"/>
    </cs:fontRef>
    <cs:spPr>
      <a:ln w="15875" cap="rnd">
        <a:solidFill>
          <a:schemeClr val="phClr"/>
        </a:solidFill>
        <a:round/>
      </a:ln>
    </cs:spPr>
  </cs:dataPointLine>
  <cs:dataPointMarker>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Marker>
  <cs:dataPointMarkerLayout symbol="circle" size="4"/>
  <cs:dataPointWireframe>
    <cs:lnRef idx="0">
      <cs:styleClr val="auto"/>
    </cs:lnRef>
    <cs:fillRef idx="2"/>
    <cs:effectRef idx="0"/>
    <cs:fontRef idx="minor">
      <a:schemeClr val="dk1"/>
    </cs:fontRef>
    <cs:spPr>
      <a:ln w="9525" cap="rnd">
        <a:solidFill>
          <a:schemeClr val="phClr"/>
        </a:solidFill>
        <a:round/>
      </a:ln>
    </cs:spPr>
  </cs:dataPointWireframe>
  <cs:dataTable>
    <cs:lnRef idx="0"/>
    <cs:fillRef idx="0"/>
    <cs:effectRef idx="0"/>
    <cs:fontRef idx="minor">
      <a:schemeClr val="tx1">
        <a:lumMod val="50000"/>
        <a:lumOff val="50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prstDash val="dash"/>
      </a:ln>
    </cs:spPr>
  </cs:dropLine>
  <cs:errorBar>
    <cs:lnRef idx="0"/>
    <cs:fillRef idx="0"/>
    <cs:effectRef idx="0"/>
    <cs:fontRef idx="minor">
      <a:schemeClr val="dk1"/>
    </cs:fontRef>
    <cs:spPr>
      <a:ln w="9525">
        <a:solidFill>
          <a:schemeClr val="tx1">
            <a:lumMod val="50000"/>
            <a:lumOff val="50000"/>
          </a:schemeClr>
        </a:solidFill>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50000"/>
        <a:lumOff val="50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50000"/>
        <a:lumOff val="50000"/>
      </a:schemeClr>
    </cs:fontRef>
    <cs:defRPr sz="900" kern="1200"/>
  </cs:seriesAxis>
  <cs:seriesLine>
    <cs:lnRef idx="0"/>
    <cs:fillRef idx="0"/>
    <cs:effectRef idx="0"/>
    <cs:fontRef idx="minor">
      <a:schemeClr val="dk1"/>
    </cs:fontRef>
    <cs:spPr>
      <a:ln w="9525">
        <a:solidFill>
          <a:schemeClr val="tx1">
            <a:lumMod val="35000"/>
            <a:lumOff val="65000"/>
          </a:schemeClr>
        </a:solidFill>
        <a:prstDash val="dash"/>
      </a:ln>
    </cs:spPr>
  </cs:seriesLine>
  <cs:title>
    <cs:lnRef idx="0"/>
    <cs:fillRef idx="0"/>
    <cs:effectRef idx="0"/>
    <cs:fontRef idx="minor">
      <a:schemeClr val="tx1">
        <a:lumMod val="50000"/>
        <a:lumOff val="50000"/>
      </a:schemeClr>
    </cs:fontRef>
    <cs:defRPr sz="1400" kern="1200" cap="none" spc="20" baseline="0"/>
  </cs:title>
  <cs:trendline>
    <cs:lnRef idx="0">
      <cs:styleClr val="auto"/>
    </cs:lnRef>
    <cs:fillRef idx="2"/>
    <cs:effectRef idx="0"/>
    <cs:fontRef idx="minor">
      <a:schemeClr val="dk1"/>
    </cs:fontRef>
    <cs:spPr>
      <a:ln w="9525" cap="rnd">
        <a:solidFill>
          <a:schemeClr val="phClr"/>
        </a:solidFill>
      </a:ln>
    </cs:spPr>
  </cs:trendline>
  <cs:trendlineLabel>
    <cs:lnRef idx="0"/>
    <cs:fillRef idx="0"/>
    <cs:effectRef idx="0"/>
    <cs:fontRef idx="minor">
      <a:schemeClr val="tx1">
        <a:lumMod val="50000"/>
        <a:lumOff val="50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50000"/>
        <a:lumOff val="50000"/>
      </a:schemeClr>
    </cs:fontRef>
    <cs:defRPr sz="900" kern="1200"/>
  </cs:valueAxis>
  <cs:wall>
    <cs:lnRef idx="0"/>
    <cs:fillRef idx="0"/>
    <cs:effectRef idx="0"/>
    <cs:fontRef idx="minor">
      <a:schemeClr val="dk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D6B1B0D-B3E6-804B-979A-8A6391624D48}" type="datetimeFigureOut">
              <a:rPr lang="en-US" smtClean="0"/>
              <a:t>10/6/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8352BBC-06A0-4B48-85D6-E6B0DFF054BB}" type="slidenum">
              <a:rPr lang="en-US" smtClean="0"/>
              <a:t>‹#›</a:t>
            </a:fld>
            <a:endParaRPr lang="en-US"/>
          </a:p>
        </p:txBody>
      </p:sp>
    </p:spTree>
    <p:extLst>
      <p:ext uri="{BB962C8B-B14F-4D97-AF65-F5344CB8AC3E}">
        <p14:creationId xmlns:p14="http://schemas.microsoft.com/office/powerpoint/2010/main" val="9837969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8352BBC-06A0-4B48-85D6-E6B0DFF054BB}" type="slidenum">
              <a:rPr lang="en-US" smtClean="0"/>
              <a:t>1</a:t>
            </a:fld>
            <a:endParaRPr lang="en-US"/>
          </a:p>
        </p:txBody>
      </p:sp>
    </p:spTree>
    <p:extLst>
      <p:ext uri="{BB962C8B-B14F-4D97-AF65-F5344CB8AC3E}">
        <p14:creationId xmlns:p14="http://schemas.microsoft.com/office/powerpoint/2010/main" val="210922091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99D7001-2DBF-694F-BB60-58746E54734B}" type="slidenum">
              <a:rPr lang="en-US" smtClean="0"/>
              <a:t>14</a:t>
            </a:fld>
            <a:endParaRPr lang="en-US"/>
          </a:p>
        </p:txBody>
      </p:sp>
    </p:spTree>
    <p:extLst>
      <p:ext uri="{BB962C8B-B14F-4D97-AF65-F5344CB8AC3E}">
        <p14:creationId xmlns:p14="http://schemas.microsoft.com/office/powerpoint/2010/main" val="224828402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99D7001-2DBF-694F-BB60-58746E54734B}" type="slidenum">
              <a:rPr lang="en-US" smtClean="0"/>
              <a:t>15</a:t>
            </a:fld>
            <a:endParaRPr lang="en-US"/>
          </a:p>
        </p:txBody>
      </p:sp>
    </p:spTree>
    <p:extLst>
      <p:ext uri="{BB962C8B-B14F-4D97-AF65-F5344CB8AC3E}">
        <p14:creationId xmlns:p14="http://schemas.microsoft.com/office/powerpoint/2010/main" val="381090318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99D7001-2DBF-694F-BB60-58746E54734B}" type="slidenum">
              <a:rPr lang="en-US" smtClean="0"/>
              <a:t>16</a:t>
            </a:fld>
            <a:endParaRPr lang="en-US"/>
          </a:p>
        </p:txBody>
      </p:sp>
    </p:spTree>
    <p:extLst>
      <p:ext uri="{BB962C8B-B14F-4D97-AF65-F5344CB8AC3E}">
        <p14:creationId xmlns:p14="http://schemas.microsoft.com/office/powerpoint/2010/main" val="297653527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99D7001-2DBF-694F-BB60-58746E54734B}" type="slidenum">
              <a:rPr lang="en-US" smtClean="0"/>
              <a:t>17</a:t>
            </a:fld>
            <a:endParaRPr lang="en-US"/>
          </a:p>
        </p:txBody>
      </p:sp>
    </p:spTree>
    <p:extLst>
      <p:ext uri="{BB962C8B-B14F-4D97-AF65-F5344CB8AC3E}">
        <p14:creationId xmlns:p14="http://schemas.microsoft.com/office/powerpoint/2010/main" val="152462806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99D7001-2DBF-694F-BB60-58746E54734B}" type="slidenum">
              <a:rPr lang="en-US" smtClean="0"/>
              <a:t>18</a:t>
            </a:fld>
            <a:endParaRPr lang="en-US"/>
          </a:p>
        </p:txBody>
      </p:sp>
    </p:spTree>
    <p:extLst>
      <p:ext uri="{BB962C8B-B14F-4D97-AF65-F5344CB8AC3E}">
        <p14:creationId xmlns:p14="http://schemas.microsoft.com/office/powerpoint/2010/main" val="220700897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99D7001-2DBF-694F-BB60-58746E54734B}" type="slidenum">
              <a:rPr lang="en-US" smtClean="0"/>
              <a:t>21</a:t>
            </a:fld>
            <a:endParaRPr lang="en-US"/>
          </a:p>
        </p:txBody>
      </p:sp>
    </p:spTree>
    <p:extLst>
      <p:ext uri="{BB962C8B-B14F-4D97-AF65-F5344CB8AC3E}">
        <p14:creationId xmlns:p14="http://schemas.microsoft.com/office/powerpoint/2010/main" val="99106147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TB enables any ethernet port to access any SSD vs. fixed mappings in Fuji</a:t>
            </a:r>
          </a:p>
        </p:txBody>
      </p:sp>
      <p:sp>
        <p:nvSpPr>
          <p:cNvPr id="4" name="Slide Number Placeholder 3"/>
          <p:cNvSpPr>
            <a:spLocks noGrp="1"/>
          </p:cNvSpPr>
          <p:nvPr>
            <p:ph type="sldNum" sz="quarter" idx="5"/>
          </p:nvPr>
        </p:nvSpPr>
        <p:spPr/>
        <p:txBody>
          <a:bodyPr/>
          <a:lstStyle/>
          <a:p>
            <a:fld id="{51C0F2FB-55D5-483D-A5A0-47B99420B677}" type="slidenum">
              <a:rPr lang="en-US" smtClean="0"/>
              <a:t>22</a:t>
            </a:fld>
            <a:endParaRPr lang="en-US"/>
          </a:p>
        </p:txBody>
      </p:sp>
    </p:spTree>
    <p:extLst>
      <p:ext uri="{BB962C8B-B14F-4D97-AF65-F5344CB8AC3E}">
        <p14:creationId xmlns:p14="http://schemas.microsoft.com/office/powerpoint/2010/main" val="10030412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0FC8478-2661-9543-915E-E9178A4BA3E1}" type="slidenum">
              <a:rPr lang="en-US" smtClean="0"/>
              <a:t>3</a:t>
            </a:fld>
            <a:endParaRPr lang="en-US"/>
          </a:p>
        </p:txBody>
      </p:sp>
    </p:spTree>
    <p:extLst>
      <p:ext uri="{BB962C8B-B14F-4D97-AF65-F5344CB8AC3E}">
        <p14:creationId xmlns:p14="http://schemas.microsoft.com/office/powerpoint/2010/main" val="38804355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8352BBC-06A0-4B48-85D6-E6B0DFF054BB}" type="slidenum">
              <a:rPr lang="en-US" smtClean="0"/>
              <a:t>6</a:t>
            </a:fld>
            <a:endParaRPr lang="en-US"/>
          </a:p>
        </p:txBody>
      </p:sp>
    </p:spTree>
    <p:extLst>
      <p:ext uri="{BB962C8B-B14F-4D97-AF65-F5344CB8AC3E}">
        <p14:creationId xmlns:p14="http://schemas.microsoft.com/office/powerpoint/2010/main" val="33104647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err="1"/>
              <a:t>ArmorCache</a:t>
            </a:r>
            <a:r>
              <a:rPr lang="en-US" b="1" dirty="0"/>
              <a:t>™</a:t>
            </a:r>
            <a:r>
              <a:rPr lang="en-US" dirty="0"/>
              <a:t> improves performance and provides enterprise power loss protection: </a:t>
            </a:r>
          </a:p>
        </p:txBody>
      </p:sp>
      <p:sp>
        <p:nvSpPr>
          <p:cNvPr id="4" name="Slide Number Placeholder 3"/>
          <p:cNvSpPr>
            <a:spLocks noGrp="1"/>
          </p:cNvSpPr>
          <p:nvPr>
            <p:ph type="sldNum" sz="quarter" idx="5"/>
          </p:nvPr>
        </p:nvSpPr>
        <p:spPr/>
        <p:txBody>
          <a:bodyPr/>
          <a:lstStyle/>
          <a:p>
            <a:fld id="{4DC6145D-C808-EF48-BEEE-8EB71129C3B6}" type="slidenum">
              <a:rPr lang="en-US" smtClean="0"/>
              <a:t>7</a:t>
            </a:fld>
            <a:endParaRPr lang="en-US"/>
          </a:p>
        </p:txBody>
      </p:sp>
    </p:spTree>
    <p:extLst>
      <p:ext uri="{BB962C8B-B14F-4D97-AF65-F5344CB8AC3E}">
        <p14:creationId xmlns:p14="http://schemas.microsoft.com/office/powerpoint/2010/main" val="8871430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29"/>
        <p:cNvGrpSpPr/>
        <p:nvPr/>
      </p:nvGrpSpPr>
      <p:grpSpPr>
        <a:xfrm>
          <a:off x="0" y="0"/>
          <a:ext cx="0" cy="0"/>
          <a:chOff x="0" y="0"/>
          <a:chExt cx="0" cy="0"/>
        </a:xfrm>
      </p:grpSpPr>
      <p:sp>
        <p:nvSpPr>
          <p:cNvPr id="1130" name="Google Shape;1130;p8: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a:buClr>
                <a:srgbClr val="000000"/>
              </a:buClr>
              <a:buSzPts val="1400"/>
              <a:defRPr/>
            </a:pPr>
            <a:r>
              <a:rPr lang="en-US" dirty="0">
                <a:cs typeface="Calibri"/>
              </a:rPr>
              <a:t>See: Brad Warbiany for details.</a:t>
            </a:r>
            <a:endParaRPr lang="en-US" dirty="0"/>
          </a:p>
        </p:txBody>
      </p:sp>
      <p:sp>
        <p:nvSpPr>
          <p:cNvPr id="1131" name="Google Shape;1131;p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5904240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29"/>
        <p:cNvGrpSpPr/>
        <p:nvPr/>
      </p:nvGrpSpPr>
      <p:grpSpPr>
        <a:xfrm>
          <a:off x="0" y="0"/>
          <a:ext cx="0" cy="0"/>
          <a:chOff x="0" y="0"/>
          <a:chExt cx="0" cy="0"/>
        </a:xfrm>
      </p:grpSpPr>
      <p:sp>
        <p:nvSpPr>
          <p:cNvPr id="1130" name="Google Shape;1130;p8: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a:p>
        </p:txBody>
      </p:sp>
      <p:sp>
        <p:nvSpPr>
          <p:cNvPr id="1131" name="Google Shape;1131;p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5359684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29"/>
        <p:cNvGrpSpPr/>
        <p:nvPr/>
      </p:nvGrpSpPr>
      <p:grpSpPr>
        <a:xfrm>
          <a:off x="0" y="0"/>
          <a:ext cx="0" cy="0"/>
          <a:chOff x="0" y="0"/>
          <a:chExt cx="0" cy="0"/>
        </a:xfrm>
      </p:grpSpPr>
      <p:sp>
        <p:nvSpPr>
          <p:cNvPr id="1130" name="Google Shape;1130;p8: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a:p>
        </p:txBody>
      </p:sp>
      <p:sp>
        <p:nvSpPr>
          <p:cNvPr id="1131" name="Google Shape;1131;p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5583097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99D7001-2DBF-694F-BB60-58746E54734B}" type="slidenum">
              <a:rPr lang="en-US" smtClean="0"/>
              <a:t>12</a:t>
            </a:fld>
            <a:endParaRPr lang="en-US"/>
          </a:p>
        </p:txBody>
      </p:sp>
    </p:spTree>
    <p:extLst>
      <p:ext uri="{BB962C8B-B14F-4D97-AF65-F5344CB8AC3E}">
        <p14:creationId xmlns:p14="http://schemas.microsoft.com/office/powerpoint/2010/main" val="37916609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99D7001-2DBF-694F-BB60-58746E54734B}" type="slidenum">
              <a:rPr lang="en-US" smtClean="0"/>
              <a:t>13</a:t>
            </a:fld>
            <a:endParaRPr lang="en-US"/>
          </a:p>
        </p:txBody>
      </p:sp>
    </p:spTree>
    <p:extLst>
      <p:ext uri="{BB962C8B-B14F-4D97-AF65-F5344CB8AC3E}">
        <p14:creationId xmlns:p14="http://schemas.microsoft.com/office/powerpoint/2010/main" val="125772661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emf"/><Relationship Id="rId7" Type="http://schemas.openxmlformats.org/officeDocument/2006/relationships/image" Target="../media/image5.png"/><Relationship Id="rId2" Type="http://schemas.openxmlformats.org/officeDocument/2006/relationships/image" Target="../media/image6.emf"/><Relationship Id="rId1" Type="http://schemas.openxmlformats.org/officeDocument/2006/relationships/slideMaster" Target="../slideMasters/slideMaster1.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5.png"/><Relationship Id="rId4" Type="http://schemas.openxmlformats.org/officeDocument/2006/relationships/image" Target="../media/image4.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Blac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335B13E-B93A-A24B-AC8A-D1F7A041356B}"/>
              </a:ext>
            </a:extLst>
          </p:cNvPr>
          <p:cNvSpPr/>
          <p:nvPr/>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 Placeholder 14">
            <a:extLst>
              <a:ext uri="{FF2B5EF4-FFF2-40B4-BE49-F238E27FC236}">
                <a16:creationId xmlns:a16="http://schemas.microsoft.com/office/drawing/2014/main" id="{F33C628C-D29E-A044-B2EB-3DC2477C6A1B}"/>
              </a:ext>
            </a:extLst>
          </p:cNvPr>
          <p:cNvSpPr>
            <a:spLocks noGrp="1"/>
          </p:cNvSpPr>
          <p:nvPr>
            <p:ph type="body" sz="quarter" idx="11" hasCustomPrompt="1"/>
          </p:nvPr>
        </p:nvSpPr>
        <p:spPr>
          <a:xfrm>
            <a:off x="274638" y="6514048"/>
            <a:ext cx="5684837" cy="184666"/>
          </a:xfrm>
        </p:spPr>
        <p:txBody>
          <a:bodyPr wrap="square" lIns="45720" tIns="0" rIns="0" bIns="0" anchor="ctr">
            <a:spAutoFit/>
          </a:bodyPr>
          <a:lstStyle>
            <a:lvl1pPr marL="0" indent="0">
              <a:spcAft>
                <a:spcPts val="0"/>
              </a:spcAft>
              <a:buNone/>
              <a:defRPr sz="1200" b="0" i="0">
                <a:solidFill>
                  <a:schemeClr val="bg1"/>
                </a:solidFill>
                <a:latin typeface="+mn-lt"/>
              </a:defRPr>
            </a:lvl1pPr>
            <a:lvl2pPr marL="457200" indent="0">
              <a:buNone/>
              <a:defRPr sz="2400">
                <a:solidFill>
                  <a:schemeClr val="bg1"/>
                </a:solidFill>
              </a:defRPr>
            </a:lvl2pPr>
            <a:lvl3pPr marL="914400" indent="0">
              <a:buNone/>
              <a:defRPr sz="2400">
                <a:solidFill>
                  <a:schemeClr val="bg1"/>
                </a:solidFill>
              </a:defRPr>
            </a:lvl3pPr>
            <a:lvl4pPr marL="1371600" indent="0">
              <a:buNone/>
              <a:defRPr sz="2400">
                <a:solidFill>
                  <a:schemeClr val="bg1"/>
                </a:solidFill>
              </a:defRPr>
            </a:lvl4pPr>
            <a:lvl5pPr marL="1828800" indent="0">
              <a:buNone/>
              <a:defRPr sz="2400">
                <a:solidFill>
                  <a:schemeClr val="bg1"/>
                </a:solidFill>
              </a:defRPr>
            </a:lvl5pPr>
          </a:lstStyle>
          <a:p>
            <a:pPr lvl="0"/>
            <a:r>
              <a:rPr lang="en-US" dirty="0"/>
              <a:t>Click to Add Presenter’s Name, Title</a:t>
            </a:r>
          </a:p>
        </p:txBody>
      </p:sp>
      <p:sp>
        <p:nvSpPr>
          <p:cNvPr id="22" name="Text Placeholder 14">
            <a:extLst>
              <a:ext uri="{FF2B5EF4-FFF2-40B4-BE49-F238E27FC236}">
                <a16:creationId xmlns:a16="http://schemas.microsoft.com/office/drawing/2014/main" id="{7BE533FA-0CC0-F144-B76F-CAB9B164153F}"/>
              </a:ext>
            </a:extLst>
          </p:cNvPr>
          <p:cNvSpPr>
            <a:spLocks noGrp="1"/>
          </p:cNvSpPr>
          <p:nvPr>
            <p:ph type="body" sz="quarter" idx="14" hasCustomPrompt="1"/>
          </p:nvPr>
        </p:nvSpPr>
        <p:spPr>
          <a:xfrm>
            <a:off x="274637" y="5669280"/>
            <a:ext cx="11640312" cy="453394"/>
          </a:xfrm>
          <a:prstGeom prst="rect">
            <a:avLst/>
          </a:prstGeom>
          <a:noFill/>
        </p:spPr>
        <p:txBody>
          <a:bodyPr wrap="square" lIns="45720" tIns="0" rIns="0" bIns="0" anchor="t" anchorCtr="0">
            <a:normAutofit/>
          </a:bodyPr>
          <a:lstStyle>
            <a:lvl1pPr marL="0" indent="0">
              <a:lnSpc>
                <a:spcPts val="3500"/>
              </a:lnSpc>
              <a:spcAft>
                <a:spcPts val="0"/>
              </a:spcAft>
              <a:buNone/>
              <a:defRPr sz="4000" b="1" spc="-150">
                <a:solidFill>
                  <a:schemeClr val="bg1"/>
                </a:solidFill>
                <a:latin typeface="+mj-lt"/>
              </a:defRPr>
            </a:lvl1pPr>
            <a:lvl2pPr marL="457200" indent="0">
              <a:buNone/>
              <a:defRPr sz="6000">
                <a:latin typeface="+mj-lt"/>
              </a:defRPr>
            </a:lvl2pPr>
            <a:lvl3pPr marL="914400" indent="0">
              <a:buNone/>
              <a:defRPr sz="6000">
                <a:latin typeface="+mj-lt"/>
              </a:defRPr>
            </a:lvl3pPr>
            <a:lvl4pPr marL="1371600" indent="0">
              <a:buNone/>
              <a:defRPr sz="6000">
                <a:latin typeface="+mj-lt"/>
              </a:defRPr>
            </a:lvl4pPr>
            <a:lvl5pPr marL="1828800" indent="0">
              <a:buNone/>
              <a:defRPr sz="6000">
                <a:latin typeface="+mj-lt"/>
              </a:defRPr>
            </a:lvl5pPr>
          </a:lstStyle>
          <a:p>
            <a:pPr lvl="0"/>
            <a:r>
              <a:rPr lang="en-US" dirty="0"/>
              <a:t>Click to Add Subtitle</a:t>
            </a:r>
          </a:p>
        </p:txBody>
      </p:sp>
      <p:sp>
        <p:nvSpPr>
          <p:cNvPr id="3" name="Title 2">
            <a:extLst>
              <a:ext uri="{FF2B5EF4-FFF2-40B4-BE49-F238E27FC236}">
                <a16:creationId xmlns:a16="http://schemas.microsoft.com/office/drawing/2014/main" id="{4314E5C1-6412-0848-82FF-8CCD2F72EE68}"/>
              </a:ext>
            </a:extLst>
          </p:cNvPr>
          <p:cNvSpPr>
            <a:spLocks noGrp="1"/>
          </p:cNvSpPr>
          <p:nvPr>
            <p:ph type="title" hasCustomPrompt="1"/>
          </p:nvPr>
        </p:nvSpPr>
        <p:spPr>
          <a:xfrm>
            <a:off x="274639" y="804672"/>
            <a:ext cx="11636906" cy="4762779"/>
          </a:xfrm>
        </p:spPr>
        <p:txBody>
          <a:bodyPr wrap="square" tIns="0" anchor="b">
            <a:noAutofit/>
          </a:bodyPr>
          <a:lstStyle>
            <a:lvl1pPr>
              <a:lnSpc>
                <a:spcPts val="12000"/>
              </a:lnSpc>
              <a:defRPr sz="12000" b="1" spc="-300">
                <a:solidFill>
                  <a:schemeClr val="bg1"/>
                </a:solidFill>
                <a:latin typeface="+mj-lt"/>
              </a:defRPr>
            </a:lvl1pPr>
          </a:lstStyle>
          <a:p>
            <a:pPr lvl="0"/>
            <a:r>
              <a:rPr lang="en-US" dirty="0"/>
              <a:t>Click</a:t>
            </a:r>
            <a:br>
              <a:rPr lang="en-US" dirty="0"/>
            </a:br>
            <a:r>
              <a:rPr lang="en-US" dirty="0"/>
              <a:t>to Add </a:t>
            </a:r>
            <a:br>
              <a:rPr lang="en-US" dirty="0"/>
            </a:br>
            <a:r>
              <a:rPr lang="en-US" dirty="0"/>
              <a:t>Title</a:t>
            </a:r>
          </a:p>
        </p:txBody>
      </p:sp>
      <p:cxnSp>
        <p:nvCxnSpPr>
          <p:cNvPr id="26" name="Straight Connector 25">
            <a:extLst>
              <a:ext uri="{FF2B5EF4-FFF2-40B4-BE49-F238E27FC236}">
                <a16:creationId xmlns:a16="http://schemas.microsoft.com/office/drawing/2014/main" id="{0638C5A9-34CC-E74C-95F4-EEBCB9461F59}"/>
              </a:ext>
            </a:extLst>
          </p:cNvPr>
          <p:cNvCxnSpPr/>
          <p:nvPr/>
        </p:nvCxnSpPr>
        <p:spPr>
          <a:xfrm>
            <a:off x="0" y="635476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7" name="Text Placeholder 14">
            <a:extLst>
              <a:ext uri="{FF2B5EF4-FFF2-40B4-BE49-F238E27FC236}">
                <a16:creationId xmlns:a16="http://schemas.microsoft.com/office/drawing/2014/main" id="{60A3440B-7E5F-7A49-9CD0-5777AA08CC2F}"/>
              </a:ext>
            </a:extLst>
          </p:cNvPr>
          <p:cNvSpPr>
            <a:spLocks noGrp="1"/>
          </p:cNvSpPr>
          <p:nvPr>
            <p:ph type="body" sz="quarter" idx="15" hasCustomPrompt="1"/>
          </p:nvPr>
        </p:nvSpPr>
        <p:spPr>
          <a:xfrm>
            <a:off x="8337241" y="6514048"/>
            <a:ext cx="3516844" cy="184666"/>
          </a:xfrm>
        </p:spPr>
        <p:txBody>
          <a:bodyPr wrap="square" lIns="0" tIns="0" rIns="0" bIns="0" anchor="ctr">
            <a:spAutoFit/>
          </a:bodyPr>
          <a:lstStyle>
            <a:lvl1pPr marL="0" indent="0">
              <a:spcAft>
                <a:spcPts val="0"/>
              </a:spcAft>
              <a:buNone/>
              <a:defRPr sz="1200" b="0" i="0">
                <a:solidFill>
                  <a:schemeClr val="bg1"/>
                </a:solidFill>
                <a:latin typeface="+mn-lt"/>
              </a:defRPr>
            </a:lvl1pPr>
            <a:lvl2pPr marL="457200" indent="0">
              <a:buNone/>
              <a:defRPr sz="2400">
                <a:solidFill>
                  <a:schemeClr val="bg1"/>
                </a:solidFill>
              </a:defRPr>
            </a:lvl2pPr>
            <a:lvl3pPr marL="914400" indent="0">
              <a:buNone/>
              <a:defRPr sz="2400">
                <a:solidFill>
                  <a:schemeClr val="bg1"/>
                </a:solidFill>
              </a:defRPr>
            </a:lvl3pPr>
            <a:lvl4pPr marL="1371600" indent="0">
              <a:buNone/>
              <a:defRPr sz="2400">
                <a:solidFill>
                  <a:schemeClr val="bg1"/>
                </a:solidFill>
              </a:defRPr>
            </a:lvl4pPr>
            <a:lvl5pPr marL="1828800" indent="0">
              <a:buNone/>
              <a:defRPr sz="2400">
                <a:solidFill>
                  <a:schemeClr val="bg1"/>
                </a:solidFill>
              </a:defRPr>
            </a:lvl5pPr>
          </a:lstStyle>
          <a:p>
            <a:pPr lvl="0"/>
            <a:r>
              <a:rPr lang="en-US" dirty="0"/>
              <a:t>Click to Add Date</a:t>
            </a:r>
          </a:p>
        </p:txBody>
      </p:sp>
      <p:cxnSp>
        <p:nvCxnSpPr>
          <p:cNvPr id="60" name="Straight Connector 59">
            <a:extLst>
              <a:ext uri="{FF2B5EF4-FFF2-40B4-BE49-F238E27FC236}">
                <a16:creationId xmlns:a16="http://schemas.microsoft.com/office/drawing/2014/main" id="{13E1C1D1-486C-A44F-A518-44B812661BCA}"/>
              </a:ext>
            </a:extLst>
          </p:cNvPr>
          <p:cNvCxnSpPr/>
          <p:nvPr/>
        </p:nvCxnSpPr>
        <p:spPr>
          <a:xfrm>
            <a:off x="8121650" y="6354763"/>
            <a:ext cx="0" cy="50323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37" name="Graphic 5">
            <a:extLst>
              <a:ext uri="{FF2B5EF4-FFF2-40B4-BE49-F238E27FC236}">
                <a16:creationId xmlns:a16="http://schemas.microsoft.com/office/drawing/2014/main" id="{F3E2666E-9E12-F64C-8049-85F60DD72475}"/>
              </a:ext>
            </a:extLst>
          </p:cNvPr>
          <p:cNvGrpSpPr/>
          <p:nvPr userDrawn="1"/>
        </p:nvGrpSpPr>
        <p:grpSpPr>
          <a:xfrm>
            <a:off x="10559334" y="266930"/>
            <a:ext cx="1405015" cy="428440"/>
            <a:chOff x="674474" y="1776279"/>
            <a:chExt cx="10843422" cy="3306557"/>
          </a:xfrm>
        </p:grpSpPr>
        <p:sp>
          <p:nvSpPr>
            <p:cNvPr id="38" name="Freeform 37">
              <a:extLst>
                <a:ext uri="{FF2B5EF4-FFF2-40B4-BE49-F238E27FC236}">
                  <a16:creationId xmlns:a16="http://schemas.microsoft.com/office/drawing/2014/main" id="{04613B3B-716E-0844-B50A-02647D382554}"/>
                </a:ext>
              </a:extLst>
            </p:cNvPr>
            <p:cNvSpPr/>
            <p:nvPr/>
          </p:nvSpPr>
          <p:spPr>
            <a:xfrm>
              <a:off x="10630550" y="1776279"/>
              <a:ext cx="562227" cy="561814"/>
            </a:xfrm>
            <a:custGeom>
              <a:avLst/>
              <a:gdLst>
                <a:gd name="connsiteX0" fmla="*/ 130474 w 562227"/>
                <a:gd name="connsiteY0" fmla="*/ 0 h 561814"/>
                <a:gd name="connsiteX1" fmla="*/ 432106 w 562227"/>
                <a:gd name="connsiteY1" fmla="*/ 0 h 561814"/>
                <a:gd name="connsiteX2" fmla="*/ 562228 w 562227"/>
                <a:gd name="connsiteY2" fmla="*/ 130027 h 561814"/>
                <a:gd name="connsiteX3" fmla="*/ 562228 w 562227"/>
                <a:gd name="connsiteY3" fmla="*/ 431436 h 561814"/>
                <a:gd name="connsiteX4" fmla="*/ 340013 w 562227"/>
                <a:gd name="connsiteY4" fmla="*/ 523461 h 561814"/>
                <a:gd name="connsiteX5" fmla="*/ 38382 w 562227"/>
                <a:gd name="connsiteY5" fmla="*/ 222052 h 561814"/>
                <a:gd name="connsiteX6" fmla="*/ 130474 w 562227"/>
                <a:gd name="connsiteY6" fmla="*/ 0 h 561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2227" h="561814">
                  <a:moveTo>
                    <a:pt x="130474" y="0"/>
                  </a:moveTo>
                  <a:lnTo>
                    <a:pt x="432106" y="0"/>
                  </a:lnTo>
                  <a:cubicBezTo>
                    <a:pt x="504064" y="0"/>
                    <a:pt x="562228" y="58121"/>
                    <a:pt x="562228" y="130027"/>
                  </a:cubicBezTo>
                  <a:lnTo>
                    <a:pt x="562228" y="431436"/>
                  </a:lnTo>
                  <a:cubicBezTo>
                    <a:pt x="562228" y="547305"/>
                    <a:pt x="422038" y="605426"/>
                    <a:pt x="340013" y="523461"/>
                  </a:cubicBezTo>
                  <a:lnTo>
                    <a:pt x="38382" y="222052"/>
                  </a:lnTo>
                  <a:cubicBezTo>
                    <a:pt x="-43644" y="140086"/>
                    <a:pt x="14520" y="0"/>
                    <a:pt x="130474" y="0"/>
                  </a:cubicBezTo>
                  <a:close/>
                </a:path>
              </a:pathLst>
            </a:custGeom>
            <a:solidFill>
              <a:srgbClr val="5DA7FB"/>
            </a:solidFill>
            <a:ln w="3728"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74A9CE27-2907-2844-8D5E-3AD6E5EA7E30}"/>
                </a:ext>
              </a:extLst>
            </p:cNvPr>
            <p:cNvSpPr/>
            <p:nvPr/>
          </p:nvSpPr>
          <p:spPr>
            <a:xfrm>
              <a:off x="9095551" y="1776652"/>
              <a:ext cx="1288528" cy="1287580"/>
            </a:xfrm>
            <a:custGeom>
              <a:avLst/>
              <a:gdLst>
                <a:gd name="connsiteX0" fmla="*/ 1007777 w 1288528"/>
                <a:gd name="connsiteY0" fmla="*/ 725394 h 1287580"/>
                <a:gd name="connsiteX1" fmla="*/ 792273 w 1288528"/>
                <a:gd name="connsiteY1" fmla="*/ 725394 h 1287580"/>
                <a:gd name="connsiteX2" fmla="*/ 792273 w 1288528"/>
                <a:gd name="connsiteY2" fmla="*/ 725394 h 1287580"/>
                <a:gd name="connsiteX3" fmla="*/ 562228 w 1288528"/>
                <a:gd name="connsiteY3" fmla="*/ 495518 h 1287580"/>
                <a:gd name="connsiteX4" fmla="*/ 562228 w 1288528"/>
                <a:gd name="connsiteY4" fmla="*/ 495518 h 1287580"/>
                <a:gd name="connsiteX5" fmla="*/ 562228 w 1288528"/>
                <a:gd name="connsiteY5" fmla="*/ 494400 h 1287580"/>
                <a:gd name="connsiteX6" fmla="*/ 562228 w 1288528"/>
                <a:gd name="connsiteY6" fmla="*/ 494400 h 1287580"/>
                <a:gd name="connsiteX7" fmla="*/ 562228 w 1288528"/>
                <a:gd name="connsiteY7" fmla="*/ 494400 h 1287580"/>
                <a:gd name="connsiteX8" fmla="*/ 562228 w 1288528"/>
                <a:gd name="connsiteY8" fmla="*/ 280545 h 1287580"/>
                <a:gd name="connsiteX9" fmla="*/ 562228 w 1288528"/>
                <a:gd name="connsiteY9" fmla="*/ 130027 h 1287580"/>
                <a:gd name="connsiteX10" fmla="*/ 432105 w 1288528"/>
                <a:gd name="connsiteY10" fmla="*/ 0 h 1287580"/>
                <a:gd name="connsiteX11" fmla="*/ 130475 w 1288528"/>
                <a:gd name="connsiteY11" fmla="*/ 0 h 1287580"/>
                <a:gd name="connsiteX12" fmla="*/ 38382 w 1288528"/>
                <a:gd name="connsiteY12" fmla="*/ 222052 h 1287580"/>
                <a:gd name="connsiteX13" fmla="*/ 153591 w 1288528"/>
                <a:gd name="connsiteY13" fmla="*/ 337176 h 1287580"/>
                <a:gd name="connsiteX14" fmla="*/ 310185 w 1288528"/>
                <a:gd name="connsiteY14" fmla="*/ 493655 h 1287580"/>
                <a:gd name="connsiteX15" fmla="*/ 312795 w 1288528"/>
                <a:gd name="connsiteY15" fmla="*/ 496263 h 1287580"/>
                <a:gd name="connsiteX16" fmla="*/ 340013 w 1288528"/>
                <a:gd name="connsiteY16" fmla="*/ 523461 h 1287580"/>
                <a:gd name="connsiteX17" fmla="*/ 765055 w 1288528"/>
                <a:gd name="connsiteY17" fmla="*/ 948190 h 1287580"/>
                <a:gd name="connsiteX18" fmla="*/ 801221 w 1288528"/>
                <a:gd name="connsiteY18" fmla="*/ 984330 h 1287580"/>
                <a:gd name="connsiteX19" fmla="*/ 812779 w 1288528"/>
                <a:gd name="connsiteY19" fmla="*/ 995879 h 1287580"/>
                <a:gd name="connsiteX20" fmla="*/ 969374 w 1288528"/>
                <a:gd name="connsiteY20" fmla="*/ 1152359 h 1287580"/>
                <a:gd name="connsiteX21" fmla="*/ 1066313 w 1288528"/>
                <a:gd name="connsiteY21" fmla="*/ 1249227 h 1287580"/>
                <a:gd name="connsiteX22" fmla="*/ 1288529 w 1288528"/>
                <a:gd name="connsiteY22" fmla="*/ 1157202 h 1287580"/>
                <a:gd name="connsiteX23" fmla="*/ 1288529 w 1288528"/>
                <a:gd name="connsiteY23" fmla="*/ 855793 h 1287580"/>
                <a:gd name="connsiteX24" fmla="*/ 1158405 w 1288528"/>
                <a:gd name="connsiteY24" fmla="*/ 725766 h 1287580"/>
                <a:gd name="connsiteX25" fmla="*/ 1007777 w 1288528"/>
                <a:gd name="connsiteY25" fmla="*/ 725766 h 1287580"/>
                <a:gd name="connsiteX26" fmla="*/ 1007777 w 1288528"/>
                <a:gd name="connsiteY26" fmla="*/ 725394 h 1287580"/>
                <a:gd name="connsiteX27" fmla="*/ 1007777 w 1288528"/>
                <a:gd name="connsiteY27" fmla="*/ 725394 h 1287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88528" h="1287580">
                  <a:moveTo>
                    <a:pt x="1007777" y="725394"/>
                  </a:moveTo>
                  <a:lnTo>
                    <a:pt x="792273" y="725394"/>
                  </a:lnTo>
                  <a:lnTo>
                    <a:pt x="792273" y="725394"/>
                  </a:lnTo>
                  <a:cubicBezTo>
                    <a:pt x="665506" y="724648"/>
                    <a:pt x="562974" y="622192"/>
                    <a:pt x="562228" y="495518"/>
                  </a:cubicBezTo>
                  <a:lnTo>
                    <a:pt x="562228" y="495518"/>
                  </a:lnTo>
                  <a:lnTo>
                    <a:pt x="562228" y="494400"/>
                  </a:lnTo>
                  <a:lnTo>
                    <a:pt x="562228" y="494400"/>
                  </a:lnTo>
                  <a:lnTo>
                    <a:pt x="562228" y="494400"/>
                  </a:lnTo>
                  <a:lnTo>
                    <a:pt x="562228" y="280545"/>
                  </a:lnTo>
                  <a:lnTo>
                    <a:pt x="562228" y="130027"/>
                  </a:lnTo>
                  <a:cubicBezTo>
                    <a:pt x="562228" y="58121"/>
                    <a:pt x="504064" y="0"/>
                    <a:pt x="432105" y="0"/>
                  </a:cubicBezTo>
                  <a:lnTo>
                    <a:pt x="130475" y="0"/>
                  </a:lnTo>
                  <a:cubicBezTo>
                    <a:pt x="14520" y="0"/>
                    <a:pt x="-43643" y="140086"/>
                    <a:pt x="38382" y="222052"/>
                  </a:cubicBezTo>
                  <a:lnTo>
                    <a:pt x="153591" y="337176"/>
                  </a:lnTo>
                  <a:lnTo>
                    <a:pt x="310185" y="493655"/>
                  </a:lnTo>
                  <a:lnTo>
                    <a:pt x="312795" y="496263"/>
                  </a:lnTo>
                  <a:lnTo>
                    <a:pt x="340013" y="523461"/>
                  </a:lnTo>
                  <a:lnTo>
                    <a:pt x="765055" y="948190"/>
                  </a:lnTo>
                  <a:lnTo>
                    <a:pt x="801221" y="984330"/>
                  </a:lnTo>
                  <a:lnTo>
                    <a:pt x="812779" y="995879"/>
                  </a:lnTo>
                  <a:lnTo>
                    <a:pt x="969374" y="1152359"/>
                  </a:lnTo>
                  <a:lnTo>
                    <a:pt x="1066313" y="1249227"/>
                  </a:lnTo>
                  <a:cubicBezTo>
                    <a:pt x="1148339" y="1331192"/>
                    <a:pt x="1288529" y="1273071"/>
                    <a:pt x="1288529" y="1157202"/>
                  </a:cubicBezTo>
                  <a:lnTo>
                    <a:pt x="1288529" y="855793"/>
                  </a:lnTo>
                  <a:cubicBezTo>
                    <a:pt x="1288529" y="783887"/>
                    <a:pt x="1230365" y="725766"/>
                    <a:pt x="1158405" y="725766"/>
                  </a:cubicBezTo>
                  <a:lnTo>
                    <a:pt x="1007777" y="725766"/>
                  </a:lnTo>
                  <a:lnTo>
                    <a:pt x="1007777" y="725394"/>
                  </a:lnTo>
                  <a:lnTo>
                    <a:pt x="1007777" y="725394"/>
                  </a:lnTo>
                  <a:close/>
                </a:path>
              </a:pathLst>
            </a:custGeom>
            <a:solidFill>
              <a:srgbClr val="FC1859"/>
            </a:solidFill>
            <a:ln w="3728"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42A35D25-5200-264C-99AB-194F9778648E}"/>
                </a:ext>
              </a:extLst>
            </p:cNvPr>
            <p:cNvSpPr/>
            <p:nvPr/>
          </p:nvSpPr>
          <p:spPr>
            <a:xfrm>
              <a:off x="9904249" y="1776652"/>
              <a:ext cx="1288528" cy="1287580"/>
            </a:xfrm>
            <a:custGeom>
              <a:avLst/>
              <a:gdLst>
                <a:gd name="connsiteX0" fmla="*/ 1007777 w 1288528"/>
                <a:gd name="connsiteY0" fmla="*/ 725394 h 1287580"/>
                <a:gd name="connsiteX1" fmla="*/ 792273 w 1288528"/>
                <a:gd name="connsiteY1" fmla="*/ 725394 h 1287580"/>
                <a:gd name="connsiteX2" fmla="*/ 792273 w 1288528"/>
                <a:gd name="connsiteY2" fmla="*/ 725394 h 1287580"/>
                <a:gd name="connsiteX3" fmla="*/ 562228 w 1288528"/>
                <a:gd name="connsiteY3" fmla="*/ 495518 h 1287580"/>
                <a:gd name="connsiteX4" fmla="*/ 562228 w 1288528"/>
                <a:gd name="connsiteY4" fmla="*/ 495518 h 1287580"/>
                <a:gd name="connsiteX5" fmla="*/ 562228 w 1288528"/>
                <a:gd name="connsiteY5" fmla="*/ 494400 h 1287580"/>
                <a:gd name="connsiteX6" fmla="*/ 562228 w 1288528"/>
                <a:gd name="connsiteY6" fmla="*/ 494400 h 1287580"/>
                <a:gd name="connsiteX7" fmla="*/ 562228 w 1288528"/>
                <a:gd name="connsiteY7" fmla="*/ 494400 h 1287580"/>
                <a:gd name="connsiteX8" fmla="*/ 562228 w 1288528"/>
                <a:gd name="connsiteY8" fmla="*/ 280545 h 1287580"/>
                <a:gd name="connsiteX9" fmla="*/ 562228 w 1288528"/>
                <a:gd name="connsiteY9" fmla="*/ 130027 h 1287580"/>
                <a:gd name="connsiteX10" fmla="*/ 432106 w 1288528"/>
                <a:gd name="connsiteY10" fmla="*/ 0 h 1287580"/>
                <a:gd name="connsiteX11" fmla="*/ 130474 w 1288528"/>
                <a:gd name="connsiteY11" fmla="*/ 0 h 1287580"/>
                <a:gd name="connsiteX12" fmla="*/ 38382 w 1288528"/>
                <a:gd name="connsiteY12" fmla="*/ 222052 h 1287580"/>
                <a:gd name="connsiteX13" fmla="*/ 153591 w 1288528"/>
                <a:gd name="connsiteY13" fmla="*/ 337176 h 1287580"/>
                <a:gd name="connsiteX14" fmla="*/ 310186 w 1288528"/>
                <a:gd name="connsiteY14" fmla="*/ 493655 h 1287580"/>
                <a:gd name="connsiteX15" fmla="*/ 312796 w 1288528"/>
                <a:gd name="connsiteY15" fmla="*/ 496263 h 1287580"/>
                <a:gd name="connsiteX16" fmla="*/ 340013 w 1288528"/>
                <a:gd name="connsiteY16" fmla="*/ 523461 h 1287580"/>
                <a:gd name="connsiteX17" fmla="*/ 765056 w 1288528"/>
                <a:gd name="connsiteY17" fmla="*/ 948190 h 1287580"/>
                <a:gd name="connsiteX18" fmla="*/ 801221 w 1288528"/>
                <a:gd name="connsiteY18" fmla="*/ 984330 h 1287580"/>
                <a:gd name="connsiteX19" fmla="*/ 812779 w 1288528"/>
                <a:gd name="connsiteY19" fmla="*/ 995879 h 1287580"/>
                <a:gd name="connsiteX20" fmla="*/ 969373 w 1288528"/>
                <a:gd name="connsiteY20" fmla="*/ 1152359 h 1287580"/>
                <a:gd name="connsiteX21" fmla="*/ 1066313 w 1288528"/>
                <a:gd name="connsiteY21" fmla="*/ 1249227 h 1287580"/>
                <a:gd name="connsiteX22" fmla="*/ 1288528 w 1288528"/>
                <a:gd name="connsiteY22" fmla="*/ 1157202 h 1287580"/>
                <a:gd name="connsiteX23" fmla="*/ 1288528 w 1288528"/>
                <a:gd name="connsiteY23" fmla="*/ 855793 h 1287580"/>
                <a:gd name="connsiteX24" fmla="*/ 1158406 w 1288528"/>
                <a:gd name="connsiteY24" fmla="*/ 725766 h 1287580"/>
                <a:gd name="connsiteX25" fmla="*/ 1007777 w 1288528"/>
                <a:gd name="connsiteY25" fmla="*/ 725766 h 1287580"/>
                <a:gd name="connsiteX26" fmla="*/ 1007777 w 1288528"/>
                <a:gd name="connsiteY26" fmla="*/ 725394 h 1287580"/>
                <a:gd name="connsiteX27" fmla="*/ 1007777 w 1288528"/>
                <a:gd name="connsiteY27" fmla="*/ 725394 h 1287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88528" h="1287580">
                  <a:moveTo>
                    <a:pt x="1007777" y="725394"/>
                  </a:moveTo>
                  <a:lnTo>
                    <a:pt x="792273" y="725394"/>
                  </a:lnTo>
                  <a:lnTo>
                    <a:pt x="792273" y="725394"/>
                  </a:lnTo>
                  <a:cubicBezTo>
                    <a:pt x="665506" y="724648"/>
                    <a:pt x="562973" y="622192"/>
                    <a:pt x="562228" y="495518"/>
                  </a:cubicBezTo>
                  <a:lnTo>
                    <a:pt x="562228" y="495518"/>
                  </a:lnTo>
                  <a:lnTo>
                    <a:pt x="562228" y="494400"/>
                  </a:lnTo>
                  <a:lnTo>
                    <a:pt x="562228" y="494400"/>
                  </a:lnTo>
                  <a:lnTo>
                    <a:pt x="562228" y="494400"/>
                  </a:lnTo>
                  <a:lnTo>
                    <a:pt x="562228" y="280545"/>
                  </a:lnTo>
                  <a:lnTo>
                    <a:pt x="562228" y="130027"/>
                  </a:lnTo>
                  <a:cubicBezTo>
                    <a:pt x="562228" y="58121"/>
                    <a:pt x="504065" y="0"/>
                    <a:pt x="432106" y="0"/>
                  </a:cubicBezTo>
                  <a:lnTo>
                    <a:pt x="130474" y="0"/>
                  </a:lnTo>
                  <a:cubicBezTo>
                    <a:pt x="14520" y="0"/>
                    <a:pt x="-43644" y="140086"/>
                    <a:pt x="38382" y="222052"/>
                  </a:cubicBezTo>
                  <a:lnTo>
                    <a:pt x="153591" y="337176"/>
                  </a:lnTo>
                  <a:lnTo>
                    <a:pt x="310186" y="493655"/>
                  </a:lnTo>
                  <a:lnTo>
                    <a:pt x="312796" y="496263"/>
                  </a:lnTo>
                  <a:lnTo>
                    <a:pt x="340013" y="523461"/>
                  </a:lnTo>
                  <a:lnTo>
                    <a:pt x="765056" y="948190"/>
                  </a:lnTo>
                  <a:lnTo>
                    <a:pt x="801221" y="984330"/>
                  </a:lnTo>
                  <a:lnTo>
                    <a:pt x="812779" y="995879"/>
                  </a:lnTo>
                  <a:lnTo>
                    <a:pt x="969373" y="1152359"/>
                  </a:lnTo>
                  <a:lnTo>
                    <a:pt x="1066313" y="1249227"/>
                  </a:lnTo>
                  <a:cubicBezTo>
                    <a:pt x="1148339" y="1331192"/>
                    <a:pt x="1288528" y="1273071"/>
                    <a:pt x="1288528" y="1157202"/>
                  </a:cubicBezTo>
                  <a:lnTo>
                    <a:pt x="1288528" y="855793"/>
                  </a:lnTo>
                  <a:cubicBezTo>
                    <a:pt x="1288528" y="783887"/>
                    <a:pt x="1230364" y="725766"/>
                    <a:pt x="1158406" y="725766"/>
                  </a:cubicBezTo>
                  <a:lnTo>
                    <a:pt x="1007777" y="725766"/>
                  </a:lnTo>
                  <a:lnTo>
                    <a:pt x="1007777" y="725394"/>
                  </a:lnTo>
                  <a:lnTo>
                    <a:pt x="1007777" y="725394"/>
                  </a:lnTo>
                  <a:close/>
                </a:path>
              </a:pathLst>
            </a:custGeom>
            <a:solidFill>
              <a:srgbClr val="995DFF"/>
            </a:solidFill>
            <a:ln w="3728" cap="flat">
              <a:noFill/>
              <a:prstDash val="solid"/>
              <a:miter/>
            </a:ln>
          </p:spPr>
          <p:txBody>
            <a:bodyPr rtlCol="0" anchor="ctr"/>
            <a:lstStyle/>
            <a:p>
              <a:endParaRPr lang="en-US"/>
            </a:p>
          </p:txBody>
        </p:sp>
        <p:sp>
          <p:nvSpPr>
            <p:cNvPr id="41" name="Freeform 40">
              <a:extLst>
                <a:ext uri="{FF2B5EF4-FFF2-40B4-BE49-F238E27FC236}">
                  <a16:creationId xmlns:a16="http://schemas.microsoft.com/office/drawing/2014/main" id="{A4204095-726F-7E4C-A7A0-D328AB3392AA}"/>
                </a:ext>
              </a:extLst>
            </p:cNvPr>
            <p:cNvSpPr/>
            <p:nvPr/>
          </p:nvSpPr>
          <p:spPr>
            <a:xfrm>
              <a:off x="3822024" y="3774371"/>
              <a:ext cx="407145" cy="1018233"/>
            </a:xfrm>
            <a:custGeom>
              <a:avLst/>
              <a:gdLst>
                <a:gd name="connsiteX0" fmla="*/ 0 w 407145"/>
                <a:gd name="connsiteY0" fmla="*/ 0 h 1018233"/>
                <a:gd name="connsiteX1" fmla="*/ 227808 w 407145"/>
                <a:gd name="connsiteY1" fmla="*/ 0 h 1018233"/>
                <a:gd name="connsiteX2" fmla="*/ 227808 w 407145"/>
                <a:gd name="connsiteY2" fmla="*/ 199697 h 1018233"/>
                <a:gd name="connsiteX3" fmla="*/ 407146 w 407145"/>
                <a:gd name="connsiteY3" fmla="*/ 199697 h 1018233"/>
                <a:gd name="connsiteX4" fmla="*/ 407146 w 407145"/>
                <a:gd name="connsiteY4" fmla="*/ 358040 h 1018233"/>
                <a:gd name="connsiteX5" fmla="*/ 227808 w 407145"/>
                <a:gd name="connsiteY5" fmla="*/ 358040 h 1018233"/>
                <a:gd name="connsiteX6" fmla="*/ 227808 w 407145"/>
                <a:gd name="connsiteY6" fmla="*/ 746257 h 1018233"/>
                <a:gd name="connsiteX7" fmla="*/ 338170 w 407145"/>
                <a:gd name="connsiteY7" fmla="*/ 862499 h 1018233"/>
                <a:gd name="connsiteX8" fmla="*/ 402299 w 407145"/>
                <a:gd name="connsiteY8" fmla="*/ 857283 h 1018233"/>
                <a:gd name="connsiteX9" fmla="*/ 402299 w 407145"/>
                <a:gd name="connsiteY9" fmla="*/ 994389 h 1018233"/>
                <a:gd name="connsiteX10" fmla="*/ 244586 w 407145"/>
                <a:gd name="connsiteY10" fmla="*/ 1018233 h 1018233"/>
                <a:gd name="connsiteX11" fmla="*/ 0 w 407145"/>
                <a:gd name="connsiteY11" fmla="*/ 748865 h 1018233"/>
                <a:gd name="connsiteX12" fmla="*/ 0 w 407145"/>
                <a:gd name="connsiteY12" fmla="*/ 0 h 1018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07145" h="1018233">
                  <a:moveTo>
                    <a:pt x="0" y="0"/>
                  </a:moveTo>
                  <a:lnTo>
                    <a:pt x="227808" y="0"/>
                  </a:lnTo>
                  <a:lnTo>
                    <a:pt x="227808" y="199697"/>
                  </a:lnTo>
                  <a:lnTo>
                    <a:pt x="407146" y="199697"/>
                  </a:lnTo>
                  <a:lnTo>
                    <a:pt x="407146" y="358040"/>
                  </a:lnTo>
                  <a:lnTo>
                    <a:pt x="227808" y="358040"/>
                  </a:lnTo>
                  <a:lnTo>
                    <a:pt x="227808" y="746257"/>
                  </a:lnTo>
                  <a:cubicBezTo>
                    <a:pt x="227808" y="814810"/>
                    <a:pt x="269194" y="862499"/>
                    <a:pt x="338170" y="862499"/>
                  </a:cubicBezTo>
                  <a:cubicBezTo>
                    <a:pt x="375081" y="862499"/>
                    <a:pt x="395961" y="858774"/>
                    <a:pt x="402299" y="857283"/>
                  </a:cubicBezTo>
                  <a:lnTo>
                    <a:pt x="402299" y="994389"/>
                  </a:lnTo>
                  <a:cubicBezTo>
                    <a:pt x="390741" y="998115"/>
                    <a:pt x="328476" y="1018233"/>
                    <a:pt x="244586" y="1018233"/>
                  </a:cubicBezTo>
                  <a:cubicBezTo>
                    <a:pt x="58910" y="1018233"/>
                    <a:pt x="0" y="899756"/>
                    <a:pt x="0" y="748865"/>
                  </a:cubicBezTo>
                  <a:lnTo>
                    <a:pt x="0" y="0"/>
                  </a:lnTo>
                </a:path>
              </a:pathLst>
            </a:custGeom>
            <a:solidFill>
              <a:srgbClr val="FFFFFF"/>
            </a:solidFill>
            <a:ln w="3728" cap="flat">
              <a:noFill/>
              <a:prstDash val="solid"/>
              <a:miter/>
            </a:ln>
          </p:spPr>
          <p:txBody>
            <a:bodyPr rtlCol="0" anchor="ctr"/>
            <a:lstStyle/>
            <a:p>
              <a:endParaRPr lang="en-US"/>
            </a:p>
          </p:txBody>
        </p:sp>
        <p:sp>
          <p:nvSpPr>
            <p:cNvPr id="42" name="Freeform 41">
              <a:extLst>
                <a:ext uri="{FF2B5EF4-FFF2-40B4-BE49-F238E27FC236}">
                  <a16:creationId xmlns:a16="http://schemas.microsoft.com/office/drawing/2014/main" id="{A8E9D827-4AC1-AA49-979A-E02E06706ED7}"/>
                </a:ext>
              </a:extLst>
            </p:cNvPr>
            <p:cNvSpPr/>
            <p:nvPr/>
          </p:nvSpPr>
          <p:spPr>
            <a:xfrm>
              <a:off x="5700039" y="3950224"/>
              <a:ext cx="744196" cy="818908"/>
            </a:xfrm>
            <a:custGeom>
              <a:avLst/>
              <a:gdLst>
                <a:gd name="connsiteX0" fmla="*/ 227808 w 744196"/>
                <a:gd name="connsiteY0" fmla="*/ 23844 h 818908"/>
                <a:gd name="connsiteX1" fmla="*/ 0 w 744196"/>
                <a:gd name="connsiteY1" fmla="*/ 23844 h 818908"/>
                <a:gd name="connsiteX2" fmla="*/ 0 w 744196"/>
                <a:gd name="connsiteY2" fmla="*/ 818909 h 818908"/>
                <a:gd name="connsiteX3" fmla="*/ 229299 w 744196"/>
                <a:gd name="connsiteY3" fmla="*/ 818909 h 818908"/>
                <a:gd name="connsiteX4" fmla="*/ 229299 w 744196"/>
                <a:gd name="connsiteY4" fmla="*/ 340529 h 818908"/>
                <a:gd name="connsiteX5" fmla="*/ 370980 w 744196"/>
                <a:gd name="connsiteY5" fmla="*/ 181814 h 818908"/>
                <a:gd name="connsiteX6" fmla="*/ 514898 w 744196"/>
                <a:gd name="connsiteY6" fmla="*/ 340529 h 818908"/>
                <a:gd name="connsiteX7" fmla="*/ 514898 w 744196"/>
                <a:gd name="connsiteY7" fmla="*/ 818909 h 818908"/>
                <a:gd name="connsiteX8" fmla="*/ 744197 w 744196"/>
                <a:gd name="connsiteY8" fmla="*/ 818909 h 818908"/>
                <a:gd name="connsiteX9" fmla="*/ 744197 w 744196"/>
                <a:gd name="connsiteY9" fmla="*/ 287251 h 818908"/>
                <a:gd name="connsiteX10" fmla="*/ 458971 w 744196"/>
                <a:gd name="connsiteY10" fmla="*/ 0 h 818908"/>
                <a:gd name="connsiteX11" fmla="*/ 230790 w 744196"/>
                <a:gd name="connsiteY11" fmla="*/ 120340 h 818908"/>
                <a:gd name="connsiteX12" fmla="*/ 227435 w 744196"/>
                <a:gd name="connsiteY12" fmla="*/ 120340 h 818908"/>
                <a:gd name="connsiteX13" fmla="*/ 227808 w 744196"/>
                <a:gd name="connsiteY13" fmla="*/ 23844 h 818908"/>
                <a:gd name="connsiteX14" fmla="*/ 227808 w 744196"/>
                <a:gd name="connsiteY14" fmla="*/ 23844 h 818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44196" h="818908">
                  <a:moveTo>
                    <a:pt x="227808" y="23844"/>
                  </a:moveTo>
                  <a:lnTo>
                    <a:pt x="0" y="23844"/>
                  </a:lnTo>
                  <a:lnTo>
                    <a:pt x="0" y="818909"/>
                  </a:lnTo>
                  <a:lnTo>
                    <a:pt x="229299" y="818909"/>
                  </a:lnTo>
                  <a:lnTo>
                    <a:pt x="229299" y="340529"/>
                  </a:lnTo>
                  <a:cubicBezTo>
                    <a:pt x="229299" y="245151"/>
                    <a:pt x="280379" y="181814"/>
                    <a:pt x="370980" y="181814"/>
                  </a:cubicBezTo>
                  <a:cubicBezTo>
                    <a:pt x="473512" y="181814"/>
                    <a:pt x="514898" y="257073"/>
                    <a:pt x="514898" y="340529"/>
                  </a:cubicBezTo>
                  <a:lnTo>
                    <a:pt x="514898" y="818909"/>
                  </a:lnTo>
                  <a:lnTo>
                    <a:pt x="744197" y="818909"/>
                  </a:lnTo>
                  <a:lnTo>
                    <a:pt x="744197" y="287251"/>
                  </a:lnTo>
                  <a:cubicBezTo>
                    <a:pt x="744197" y="122948"/>
                    <a:pt x="652477" y="0"/>
                    <a:pt x="458971" y="0"/>
                  </a:cubicBezTo>
                  <a:cubicBezTo>
                    <a:pt x="301258" y="0"/>
                    <a:pt x="246077" y="93887"/>
                    <a:pt x="230790" y="120340"/>
                  </a:cubicBezTo>
                  <a:lnTo>
                    <a:pt x="227435" y="120340"/>
                  </a:lnTo>
                  <a:lnTo>
                    <a:pt x="227808" y="23844"/>
                  </a:lnTo>
                  <a:lnTo>
                    <a:pt x="227808" y="23844"/>
                  </a:lnTo>
                  <a:close/>
                </a:path>
              </a:pathLst>
            </a:custGeom>
            <a:solidFill>
              <a:srgbClr val="FFFFFF"/>
            </a:solidFill>
            <a:ln w="3728" cap="flat">
              <a:noFill/>
              <a:prstDash val="solid"/>
              <a:miter/>
            </a:ln>
          </p:spPr>
          <p:txBody>
            <a:bodyPr rtlCol="0" anchor="ctr"/>
            <a:lstStyle/>
            <a:p>
              <a:endParaRPr lang="en-US"/>
            </a:p>
          </p:txBody>
        </p:sp>
        <p:sp>
          <p:nvSpPr>
            <p:cNvPr id="43" name="Freeform 42">
              <a:extLst>
                <a:ext uri="{FF2B5EF4-FFF2-40B4-BE49-F238E27FC236}">
                  <a16:creationId xmlns:a16="http://schemas.microsoft.com/office/drawing/2014/main" id="{C42ADDD8-C2E3-6540-A5B2-F116AA2F87D9}"/>
                </a:ext>
              </a:extLst>
            </p:cNvPr>
            <p:cNvSpPr/>
            <p:nvPr/>
          </p:nvSpPr>
          <p:spPr>
            <a:xfrm>
              <a:off x="5141892" y="3950224"/>
              <a:ext cx="480223" cy="818908"/>
            </a:xfrm>
            <a:custGeom>
              <a:avLst/>
              <a:gdLst>
                <a:gd name="connsiteX0" fmla="*/ 480223 w 480223"/>
                <a:gd name="connsiteY0" fmla="*/ 0 h 818908"/>
                <a:gd name="connsiteX1" fmla="*/ 208793 w 480223"/>
                <a:gd name="connsiteY1" fmla="*/ 153126 h 818908"/>
                <a:gd name="connsiteX2" fmla="*/ 205437 w 480223"/>
                <a:gd name="connsiteY2" fmla="*/ 153126 h 818908"/>
                <a:gd name="connsiteX3" fmla="*/ 205437 w 480223"/>
                <a:gd name="connsiteY3" fmla="*/ 23844 h 818908"/>
                <a:gd name="connsiteX4" fmla="*/ 0 w 480223"/>
                <a:gd name="connsiteY4" fmla="*/ 23844 h 818908"/>
                <a:gd name="connsiteX5" fmla="*/ 0 w 480223"/>
                <a:gd name="connsiteY5" fmla="*/ 818909 h 818908"/>
                <a:gd name="connsiteX6" fmla="*/ 229299 w 480223"/>
                <a:gd name="connsiteY6" fmla="*/ 818909 h 818908"/>
                <a:gd name="connsiteX7" fmla="*/ 229299 w 480223"/>
                <a:gd name="connsiteY7" fmla="*/ 424357 h 818908"/>
                <a:gd name="connsiteX8" fmla="*/ 479851 w 480223"/>
                <a:gd name="connsiteY8" fmla="*/ 182932 h 818908"/>
                <a:gd name="connsiteX9" fmla="*/ 479851 w 480223"/>
                <a:gd name="connsiteY9" fmla="*/ 0 h 818908"/>
                <a:gd name="connsiteX10" fmla="*/ 480223 w 480223"/>
                <a:gd name="connsiteY10" fmla="*/ 0 h 818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0223" h="818908">
                  <a:moveTo>
                    <a:pt x="480223" y="0"/>
                  </a:moveTo>
                  <a:cubicBezTo>
                    <a:pt x="273295" y="0"/>
                    <a:pt x="224825" y="116242"/>
                    <a:pt x="208793" y="153126"/>
                  </a:cubicBezTo>
                  <a:lnTo>
                    <a:pt x="205437" y="153126"/>
                  </a:lnTo>
                  <a:lnTo>
                    <a:pt x="205437" y="23844"/>
                  </a:lnTo>
                  <a:lnTo>
                    <a:pt x="0" y="23844"/>
                  </a:lnTo>
                  <a:lnTo>
                    <a:pt x="0" y="818909"/>
                  </a:lnTo>
                  <a:lnTo>
                    <a:pt x="229299" y="818909"/>
                  </a:lnTo>
                  <a:lnTo>
                    <a:pt x="229299" y="424357"/>
                  </a:lnTo>
                  <a:cubicBezTo>
                    <a:pt x="229299" y="253348"/>
                    <a:pt x="343389" y="182932"/>
                    <a:pt x="479851" y="182932"/>
                  </a:cubicBezTo>
                  <a:lnTo>
                    <a:pt x="479851" y="0"/>
                  </a:lnTo>
                  <a:lnTo>
                    <a:pt x="480223" y="0"/>
                  </a:lnTo>
                  <a:close/>
                </a:path>
              </a:pathLst>
            </a:custGeom>
            <a:solidFill>
              <a:srgbClr val="FFFFFF"/>
            </a:solidFill>
            <a:ln w="3728" cap="flat">
              <a:noFill/>
              <a:prstDash val="solid"/>
              <a:miter/>
            </a:ln>
          </p:spPr>
          <p:txBody>
            <a:bodyPr rtlCol="0" anchor="ctr"/>
            <a:lstStyle/>
            <a:p>
              <a:endParaRPr lang="en-US"/>
            </a:p>
          </p:txBody>
        </p:sp>
        <p:sp>
          <p:nvSpPr>
            <p:cNvPr id="44" name="Freeform 43">
              <a:extLst>
                <a:ext uri="{FF2B5EF4-FFF2-40B4-BE49-F238E27FC236}">
                  <a16:creationId xmlns:a16="http://schemas.microsoft.com/office/drawing/2014/main" id="{E95FE94C-D4B9-6F47-BC60-98F20CEB4DFB}"/>
                </a:ext>
              </a:extLst>
            </p:cNvPr>
            <p:cNvSpPr/>
            <p:nvPr/>
          </p:nvSpPr>
          <p:spPr>
            <a:xfrm>
              <a:off x="3040543" y="3950224"/>
              <a:ext cx="686405" cy="842752"/>
            </a:xfrm>
            <a:custGeom>
              <a:avLst/>
              <a:gdLst>
                <a:gd name="connsiteX0" fmla="*/ 519372 w 686405"/>
                <a:gd name="connsiteY0" fmla="*/ 247386 h 842752"/>
                <a:gd name="connsiteX1" fmla="*/ 666272 w 686405"/>
                <a:gd name="connsiteY1" fmla="*/ 148283 h 842752"/>
                <a:gd name="connsiteX2" fmla="*/ 340780 w 686405"/>
                <a:gd name="connsiteY2" fmla="*/ 0 h 842752"/>
                <a:gd name="connsiteX3" fmla="*/ 28709 w 686405"/>
                <a:gd name="connsiteY3" fmla="*/ 242543 h 842752"/>
                <a:gd name="connsiteX4" fmla="*/ 249060 w 686405"/>
                <a:gd name="connsiteY4" fmla="*/ 491420 h 842752"/>
                <a:gd name="connsiteX5" fmla="*/ 348236 w 686405"/>
                <a:gd name="connsiteY5" fmla="*/ 521598 h 842752"/>
                <a:gd name="connsiteX6" fmla="*/ 457852 w 686405"/>
                <a:gd name="connsiteY6" fmla="*/ 606171 h 842752"/>
                <a:gd name="connsiteX7" fmla="*/ 327730 w 686405"/>
                <a:gd name="connsiteY7" fmla="*/ 678822 h 842752"/>
                <a:gd name="connsiteX8" fmla="*/ 153612 w 686405"/>
                <a:gd name="connsiteY8" fmla="*/ 586798 h 842752"/>
                <a:gd name="connsiteX9" fmla="*/ 0 w 686405"/>
                <a:gd name="connsiteY9" fmla="*/ 672861 h 842752"/>
                <a:gd name="connsiteX10" fmla="*/ 341898 w 686405"/>
                <a:gd name="connsiteY10" fmla="*/ 842753 h 842752"/>
                <a:gd name="connsiteX11" fmla="*/ 686406 w 686405"/>
                <a:gd name="connsiteY11" fmla="*/ 590151 h 842752"/>
                <a:gd name="connsiteX12" fmla="*/ 460462 w 686405"/>
                <a:gd name="connsiteY12" fmla="*/ 339411 h 842752"/>
                <a:gd name="connsiteX13" fmla="*/ 371353 w 686405"/>
                <a:gd name="connsiteY13" fmla="*/ 312214 h 842752"/>
                <a:gd name="connsiteX14" fmla="*/ 257262 w 686405"/>
                <a:gd name="connsiteY14" fmla="*/ 227640 h 842752"/>
                <a:gd name="connsiteX15" fmla="*/ 361659 w 686405"/>
                <a:gd name="connsiteY15" fmla="*/ 164303 h 842752"/>
                <a:gd name="connsiteX16" fmla="*/ 519372 w 686405"/>
                <a:gd name="connsiteY16" fmla="*/ 247386 h 842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86405" h="842752">
                  <a:moveTo>
                    <a:pt x="519372" y="247386"/>
                  </a:moveTo>
                  <a:lnTo>
                    <a:pt x="666272" y="148283"/>
                  </a:lnTo>
                  <a:cubicBezTo>
                    <a:pt x="647257" y="116242"/>
                    <a:pt x="569333" y="0"/>
                    <a:pt x="340780" y="0"/>
                  </a:cubicBezTo>
                  <a:cubicBezTo>
                    <a:pt x="170390" y="0"/>
                    <a:pt x="28709" y="87554"/>
                    <a:pt x="28709" y="242543"/>
                  </a:cubicBezTo>
                  <a:cubicBezTo>
                    <a:pt x="28709" y="387100"/>
                    <a:pt x="133478" y="455653"/>
                    <a:pt x="249060" y="491420"/>
                  </a:cubicBezTo>
                  <a:cubicBezTo>
                    <a:pt x="283361" y="501851"/>
                    <a:pt x="317663" y="511911"/>
                    <a:pt x="348236" y="521598"/>
                  </a:cubicBezTo>
                  <a:cubicBezTo>
                    <a:pt x="410128" y="541344"/>
                    <a:pt x="457852" y="558482"/>
                    <a:pt x="457852" y="606171"/>
                  </a:cubicBezTo>
                  <a:cubicBezTo>
                    <a:pt x="457852" y="648644"/>
                    <a:pt x="410501" y="678822"/>
                    <a:pt x="327730" y="678822"/>
                  </a:cubicBezTo>
                  <a:cubicBezTo>
                    <a:pt x="220724" y="678822"/>
                    <a:pt x="171508" y="613995"/>
                    <a:pt x="153612" y="586798"/>
                  </a:cubicBezTo>
                  <a:lnTo>
                    <a:pt x="0" y="672861"/>
                  </a:lnTo>
                  <a:cubicBezTo>
                    <a:pt x="14914" y="710118"/>
                    <a:pt x="98058" y="842753"/>
                    <a:pt x="341898" y="842753"/>
                  </a:cubicBezTo>
                  <a:cubicBezTo>
                    <a:pt x="527947" y="842753"/>
                    <a:pt x="686406" y="764513"/>
                    <a:pt x="686406" y="590151"/>
                  </a:cubicBezTo>
                  <a:cubicBezTo>
                    <a:pt x="686406" y="444848"/>
                    <a:pt x="582755" y="377041"/>
                    <a:pt x="460462" y="339411"/>
                  </a:cubicBezTo>
                  <a:cubicBezTo>
                    <a:pt x="429516" y="330097"/>
                    <a:pt x="398943" y="320410"/>
                    <a:pt x="371353" y="312214"/>
                  </a:cubicBezTo>
                  <a:cubicBezTo>
                    <a:pt x="315799" y="295448"/>
                    <a:pt x="257262" y="280172"/>
                    <a:pt x="257262" y="227640"/>
                  </a:cubicBezTo>
                  <a:cubicBezTo>
                    <a:pt x="257262" y="188893"/>
                    <a:pt x="294174" y="164303"/>
                    <a:pt x="361659" y="164303"/>
                  </a:cubicBezTo>
                  <a:cubicBezTo>
                    <a:pt x="467919" y="164303"/>
                    <a:pt x="504085" y="225032"/>
                    <a:pt x="519372" y="247386"/>
                  </a:cubicBezTo>
                  <a:close/>
                </a:path>
              </a:pathLst>
            </a:custGeom>
            <a:solidFill>
              <a:srgbClr val="FFFFFF"/>
            </a:solidFill>
            <a:ln w="3728" cap="flat">
              <a:noFill/>
              <a:prstDash val="solid"/>
              <a:miter/>
            </a:ln>
          </p:spPr>
          <p:txBody>
            <a:bodyPr rtlCol="0" anchor="ctr"/>
            <a:lstStyle/>
            <a:p>
              <a:endParaRPr lang="en-US"/>
            </a:p>
          </p:txBody>
        </p:sp>
        <p:sp>
          <p:nvSpPr>
            <p:cNvPr id="45" name="Freeform 44">
              <a:extLst>
                <a:ext uri="{FF2B5EF4-FFF2-40B4-BE49-F238E27FC236}">
                  <a16:creationId xmlns:a16="http://schemas.microsoft.com/office/drawing/2014/main" id="{3602FA9B-F6A9-3E4D-A347-818863706DEB}"/>
                </a:ext>
              </a:extLst>
            </p:cNvPr>
            <p:cNvSpPr/>
            <p:nvPr/>
          </p:nvSpPr>
          <p:spPr>
            <a:xfrm>
              <a:off x="674474" y="3625716"/>
              <a:ext cx="1595772" cy="1143416"/>
            </a:xfrm>
            <a:custGeom>
              <a:avLst/>
              <a:gdLst>
                <a:gd name="connsiteX0" fmla="*/ 1372812 w 1595772"/>
                <a:gd name="connsiteY0" fmla="*/ 0 h 1143416"/>
                <a:gd name="connsiteX1" fmla="*/ 1164765 w 1595772"/>
                <a:gd name="connsiteY1" fmla="*/ 814810 h 1143416"/>
                <a:gd name="connsiteX2" fmla="*/ 956718 w 1595772"/>
                <a:gd name="connsiteY2" fmla="*/ 0 h 1143416"/>
                <a:gd name="connsiteX3" fmla="*/ 670374 w 1595772"/>
                <a:gd name="connsiteY3" fmla="*/ 0 h 1143416"/>
                <a:gd name="connsiteX4" fmla="*/ 456734 w 1595772"/>
                <a:gd name="connsiteY4" fmla="*/ 838282 h 1143416"/>
                <a:gd name="connsiteX5" fmla="*/ 242721 w 1595772"/>
                <a:gd name="connsiteY5" fmla="*/ 0 h 1143416"/>
                <a:gd name="connsiteX6" fmla="*/ 0 w 1595772"/>
                <a:gd name="connsiteY6" fmla="*/ 0 h 1143416"/>
                <a:gd name="connsiteX7" fmla="*/ 295665 w 1595772"/>
                <a:gd name="connsiteY7" fmla="*/ 1143417 h 1143416"/>
                <a:gd name="connsiteX8" fmla="*/ 599533 w 1595772"/>
                <a:gd name="connsiteY8" fmla="*/ 1143417 h 1143416"/>
                <a:gd name="connsiteX9" fmla="*/ 806462 w 1595772"/>
                <a:gd name="connsiteY9" fmla="*/ 333078 h 1143416"/>
                <a:gd name="connsiteX10" fmla="*/ 1013390 w 1595772"/>
                <a:gd name="connsiteY10" fmla="*/ 1143417 h 1143416"/>
                <a:gd name="connsiteX11" fmla="*/ 1300107 w 1595772"/>
                <a:gd name="connsiteY11" fmla="*/ 1143417 h 1143416"/>
                <a:gd name="connsiteX12" fmla="*/ 1595773 w 1595772"/>
                <a:gd name="connsiteY12" fmla="*/ 0 h 1143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95772" h="1143416">
                  <a:moveTo>
                    <a:pt x="1372812" y="0"/>
                  </a:moveTo>
                  <a:lnTo>
                    <a:pt x="1164765" y="814810"/>
                  </a:lnTo>
                  <a:lnTo>
                    <a:pt x="956718" y="0"/>
                  </a:lnTo>
                  <a:lnTo>
                    <a:pt x="670374" y="0"/>
                  </a:lnTo>
                  <a:lnTo>
                    <a:pt x="456734" y="838282"/>
                  </a:lnTo>
                  <a:lnTo>
                    <a:pt x="242721" y="0"/>
                  </a:lnTo>
                  <a:lnTo>
                    <a:pt x="0" y="0"/>
                  </a:lnTo>
                  <a:lnTo>
                    <a:pt x="295665" y="1143417"/>
                  </a:lnTo>
                  <a:lnTo>
                    <a:pt x="599533" y="1143417"/>
                  </a:lnTo>
                  <a:lnTo>
                    <a:pt x="806462" y="333078"/>
                  </a:lnTo>
                  <a:lnTo>
                    <a:pt x="1013390" y="1143417"/>
                  </a:lnTo>
                  <a:lnTo>
                    <a:pt x="1300107" y="1143417"/>
                  </a:lnTo>
                  <a:lnTo>
                    <a:pt x="1595773" y="0"/>
                  </a:lnTo>
                  <a:close/>
                </a:path>
              </a:pathLst>
            </a:custGeom>
            <a:solidFill>
              <a:srgbClr val="FFFFFF"/>
            </a:solidFill>
            <a:ln w="3728" cap="flat">
              <a:noFill/>
              <a:prstDash val="solid"/>
              <a:miter/>
            </a:ln>
          </p:spPr>
          <p:txBody>
            <a:bodyPr rtlCol="0" anchor="ctr"/>
            <a:lstStyle/>
            <a:p>
              <a:endParaRPr lang="en-US"/>
            </a:p>
          </p:txBody>
        </p:sp>
        <p:sp>
          <p:nvSpPr>
            <p:cNvPr id="46" name="Freeform 45">
              <a:extLst>
                <a:ext uri="{FF2B5EF4-FFF2-40B4-BE49-F238E27FC236}">
                  <a16:creationId xmlns:a16="http://schemas.microsoft.com/office/drawing/2014/main" id="{93E14922-2CDE-CC40-9CE1-E989A4F1F2FC}"/>
                </a:ext>
              </a:extLst>
            </p:cNvPr>
            <p:cNvSpPr/>
            <p:nvPr/>
          </p:nvSpPr>
          <p:spPr>
            <a:xfrm>
              <a:off x="2202389" y="3950224"/>
              <a:ext cx="791175" cy="842752"/>
            </a:xfrm>
            <a:custGeom>
              <a:avLst/>
              <a:gdLst>
                <a:gd name="connsiteX0" fmla="*/ 790802 w 791175"/>
                <a:gd name="connsiteY0" fmla="*/ 421376 h 842752"/>
                <a:gd name="connsiteX1" fmla="*/ 395960 w 791175"/>
                <a:gd name="connsiteY1" fmla="*/ 0 h 842752"/>
                <a:gd name="connsiteX2" fmla="*/ 0 w 791175"/>
                <a:gd name="connsiteY2" fmla="*/ 421376 h 842752"/>
                <a:gd name="connsiteX3" fmla="*/ 405654 w 791175"/>
                <a:gd name="connsiteY3" fmla="*/ 842753 h 842752"/>
                <a:gd name="connsiteX4" fmla="*/ 735249 w 791175"/>
                <a:gd name="connsiteY4" fmla="*/ 666155 h 842752"/>
                <a:gd name="connsiteX5" fmla="*/ 580891 w 791175"/>
                <a:gd name="connsiteY5" fmla="*/ 577483 h 842752"/>
                <a:gd name="connsiteX6" fmla="*/ 406773 w 791175"/>
                <a:gd name="connsiteY6" fmla="*/ 678822 h 842752"/>
                <a:gd name="connsiteX7" fmla="*/ 228553 w 791175"/>
                <a:gd name="connsiteY7" fmla="*/ 491420 h 842752"/>
                <a:gd name="connsiteX8" fmla="*/ 791175 w 791175"/>
                <a:gd name="connsiteY8" fmla="*/ 491420 h 842752"/>
                <a:gd name="connsiteX9" fmla="*/ 790802 w 791175"/>
                <a:gd name="connsiteY9" fmla="*/ 421376 h 842752"/>
                <a:gd name="connsiteX10" fmla="*/ 228181 w 791175"/>
                <a:gd name="connsiteY10" fmla="*/ 332705 h 842752"/>
                <a:gd name="connsiteX11" fmla="*/ 395960 w 791175"/>
                <a:gd name="connsiteY11" fmla="*/ 163558 h 842752"/>
                <a:gd name="connsiteX12" fmla="*/ 561876 w 791175"/>
                <a:gd name="connsiteY12" fmla="*/ 332705 h 842752"/>
                <a:gd name="connsiteX13" fmla="*/ 228181 w 791175"/>
                <a:gd name="connsiteY13" fmla="*/ 332705 h 842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91175" h="842752">
                  <a:moveTo>
                    <a:pt x="790802" y="421376"/>
                  </a:moveTo>
                  <a:cubicBezTo>
                    <a:pt x="790802" y="212737"/>
                    <a:pt x="665899" y="0"/>
                    <a:pt x="395960" y="0"/>
                  </a:cubicBezTo>
                  <a:cubicBezTo>
                    <a:pt x="153239" y="0"/>
                    <a:pt x="0" y="182187"/>
                    <a:pt x="0" y="421376"/>
                  </a:cubicBezTo>
                  <a:cubicBezTo>
                    <a:pt x="0" y="656841"/>
                    <a:pt x="150629" y="842753"/>
                    <a:pt x="405654" y="842753"/>
                  </a:cubicBezTo>
                  <a:cubicBezTo>
                    <a:pt x="629361" y="842753"/>
                    <a:pt x="714742" y="709746"/>
                    <a:pt x="735249" y="666155"/>
                  </a:cubicBezTo>
                  <a:lnTo>
                    <a:pt x="580891" y="577483"/>
                  </a:lnTo>
                  <a:cubicBezTo>
                    <a:pt x="570078" y="597229"/>
                    <a:pt x="531303" y="678822"/>
                    <a:pt x="406773" y="678822"/>
                  </a:cubicBezTo>
                  <a:cubicBezTo>
                    <a:pt x="306478" y="678822"/>
                    <a:pt x="235637" y="600582"/>
                    <a:pt x="228553" y="491420"/>
                  </a:cubicBezTo>
                  <a:lnTo>
                    <a:pt x="791175" y="491420"/>
                  </a:lnTo>
                  <a:cubicBezTo>
                    <a:pt x="790802" y="491047"/>
                    <a:pt x="790802" y="422494"/>
                    <a:pt x="790802" y="421376"/>
                  </a:cubicBezTo>
                  <a:close/>
                  <a:moveTo>
                    <a:pt x="228181" y="332705"/>
                  </a:moveTo>
                  <a:cubicBezTo>
                    <a:pt x="237129" y="243288"/>
                    <a:pt x="286344" y="163558"/>
                    <a:pt x="395960" y="163558"/>
                  </a:cubicBezTo>
                  <a:cubicBezTo>
                    <a:pt x="498865" y="163558"/>
                    <a:pt x="553300" y="236954"/>
                    <a:pt x="561876" y="332705"/>
                  </a:cubicBezTo>
                  <a:lnTo>
                    <a:pt x="228181" y="332705"/>
                  </a:lnTo>
                  <a:close/>
                </a:path>
              </a:pathLst>
            </a:custGeom>
            <a:solidFill>
              <a:srgbClr val="FFFFFF"/>
            </a:solidFill>
            <a:ln w="3728" cap="flat">
              <a:noFill/>
              <a:prstDash val="solid"/>
              <a:miter/>
            </a:ln>
          </p:spPr>
          <p:txBody>
            <a:bodyPr rtlCol="0" anchor="ctr"/>
            <a:lstStyle/>
            <a:p>
              <a:endParaRPr lang="en-US"/>
            </a:p>
          </p:txBody>
        </p:sp>
        <p:sp>
          <p:nvSpPr>
            <p:cNvPr id="47" name="Freeform 46">
              <a:extLst>
                <a:ext uri="{FF2B5EF4-FFF2-40B4-BE49-F238E27FC236}">
                  <a16:creationId xmlns:a16="http://schemas.microsoft.com/office/drawing/2014/main" id="{2BCC818A-C4FB-0144-967A-EA3EBD534DF9}"/>
                </a:ext>
              </a:extLst>
            </p:cNvPr>
            <p:cNvSpPr/>
            <p:nvPr/>
          </p:nvSpPr>
          <p:spPr>
            <a:xfrm>
              <a:off x="4246320" y="3950224"/>
              <a:ext cx="790802" cy="842752"/>
            </a:xfrm>
            <a:custGeom>
              <a:avLst/>
              <a:gdLst>
                <a:gd name="connsiteX0" fmla="*/ 790802 w 790802"/>
                <a:gd name="connsiteY0" fmla="*/ 421376 h 842752"/>
                <a:gd name="connsiteX1" fmla="*/ 395960 w 790802"/>
                <a:gd name="connsiteY1" fmla="*/ 0 h 842752"/>
                <a:gd name="connsiteX2" fmla="*/ 0 w 790802"/>
                <a:gd name="connsiteY2" fmla="*/ 421376 h 842752"/>
                <a:gd name="connsiteX3" fmla="*/ 405654 w 790802"/>
                <a:gd name="connsiteY3" fmla="*/ 842753 h 842752"/>
                <a:gd name="connsiteX4" fmla="*/ 735248 w 790802"/>
                <a:gd name="connsiteY4" fmla="*/ 666155 h 842752"/>
                <a:gd name="connsiteX5" fmla="*/ 580891 w 790802"/>
                <a:gd name="connsiteY5" fmla="*/ 577483 h 842752"/>
                <a:gd name="connsiteX6" fmla="*/ 406773 w 790802"/>
                <a:gd name="connsiteY6" fmla="*/ 678822 h 842752"/>
                <a:gd name="connsiteX7" fmla="*/ 228553 w 790802"/>
                <a:gd name="connsiteY7" fmla="*/ 491420 h 842752"/>
                <a:gd name="connsiteX8" fmla="*/ 790802 w 790802"/>
                <a:gd name="connsiteY8" fmla="*/ 491420 h 842752"/>
                <a:gd name="connsiteX9" fmla="*/ 790802 w 790802"/>
                <a:gd name="connsiteY9" fmla="*/ 421376 h 842752"/>
                <a:gd name="connsiteX10" fmla="*/ 228180 w 790802"/>
                <a:gd name="connsiteY10" fmla="*/ 332705 h 842752"/>
                <a:gd name="connsiteX11" fmla="*/ 395960 w 790802"/>
                <a:gd name="connsiteY11" fmla="*/ 163558 h 842752"/>
                <a:gd name="connsiteX12" fmla="*/ 561876 w 790802"/>
                <a:gd name="connsiteY12" fmla="*/ 332705 h 842752"/>
                <a:gd name="connsiteX13" fmla="*/ 228180 w 790802"/>
                <a:gd name="connsiteY13" fmla="*/ 332705 h 842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90802" h="842752">
                  <a:moveTo>
                    <a:pt x="790802" y="421376"/>
                  </a:moveTo>
                  <a:cubicBezTo>
                    <a:pt x="790802" y="212737"/>
                    <a:pt x="665899" y="0"/>
                    <a:pt x="395960" y="0"/>
                  </a:cubicBezTo>
                  <a:cubicBezTo>
                    <a:pt x="153239" y="0"/>
                    <a:pt x="0" y="182187"/>
                    <a:pt x="0" y="421376"/>
                  </a:cubicBezTo>
                  <a:cubicBezTo>
                    <a:pt x="0" y="656841"/>
                    <a:pt x="150629" y="842753"/>
                    <a:pt x="405654" y="842753"/>
                  </a:cubicBezTo>
                  <a:cubicBezTo>
                    <a:pt x="629360" y="842753"/>
                    <a:pt x="714742" y="709746"/>
                    <a:pt x="735248" y="666155"/>
                  </a:cubicBezTo>
                  <a:lnTo>
                    <a:pt x="580891" y="577483"/>
                  </a:lnTo>
                  <a:cubicBezTo>
                    <a:pt x="570079" y="597229"/>
                    <a:pt x="531303" y="678822"/>
                    <a:pt x="406773" y="678822"/>
                  </a:cubicBezTo>
                  <a:cubicBezTo>
                    <a:pt x="306478" y="678822"/>
                    <a:pt x="235637" y="600582"/>
                    <a:pt x="228553" y="491420"/>
                  </a:cubicBezTo>
                  <a:lnTo>
                    <a:pt x="790802" y="491420"/>
                  </a:lnTo>
                  <a:cubicBezTo>
                    <a:pt x="790802" y="491047"/>
                    <a:pt x="790802" y="422494"/>
                    <a:pt x="790802" y="421376"/>
                  </a:cubicBezTo>
                  <a:close/>
                  <a:moveTo>
                    <a:pt x="228180" y="332705"/>
                  </a:moveTo>
                  <a:cubicBezTo>
                    <a:pt x="237129" y="243288"/>
                    <a:pt x="286344" y="163558"/>
                    <a:pt x="395960" y="163558"/>
                  </a:cubicBezTo>
                  <a:cubicBezTo>
                    <a:pt x="498865" y="163558"/>
                    <a:pt x="553301" y="236954"/>
                    <a:pt x="561876" y="332705"/>
                  </a:cubicBezTo>
                  <a:lnTo>
                    <a:pt x="228180" y="332705"/>
                  </a:lnTo>
                  <a:close/>
                </a:path>
              </a:pathLst>
            </a:custGeom>
            <a:solidFill>
              <a:srgbClr val="FFFFFF"/>
            </a:solidFill>
            <a:ln w="3728" cap="flat">
              <a:noFill/>
              <a:prstDash val="solid"/>
              <a:miter/>
            </a:ln>
          </p:spPr>
          <p:txBody>
            <a:bodyPr rtlCol="0" anchor="ctr"/>
            <a:lstStyle/>
            <a:p>
              <a:endParaRPr lang="en-US"/>
            </a:p>
          </p:txBody>
        </p:sp>
        <p:sp>
          <p:nvSpPr>
            <p:cNvPr id="48" name="Freeform 47">
              <a:extLst>
                <a:ext uri="{FF2B5EF4-FFF2-40B4-BE49-F238E27FC236}">
                  <a16:creationId xmlns:a16="http://schemas.microsoft.com/office/drawing/2014/main" id="{5550758D-A67E-A947-83E4-8A6C1B638CCA}"/>
                </a:ext>
              </a:extLst>
            </p:cNvPr>
            <p:cNvSpPr/>
            <p:nvPr/>
          </p:nvSpPr>
          <p:spPr>
            <a:xfrm>
              <a:off x="9632798" y="3774371"/>
              <a:ext cx="407145" cy="1018233"/>
            </a:xfrm>
            <a:custGeom>
              <a:avLst/>
              <a:gdLst>
                <a:gd name="connsiteX0" fmla="*/ 0 w 407145"/>
                <a:gd name="connsiteY0" fmla="*/ 0 h 1018233"/>
                <a:gd name="connsiteX1" fmla="*/ 227807 w 407145"/>
                <a:gd name="connsiteY1" fmla="*/ 0 h 1018233"/>
                <a:gd name="connsiteX2" fmla="*/ 227807 w 407145"/>
                <a:gd name="connsiteY2" fmla="*/ 199697 h 1018233"/>
                <a:gd name="connsiteX3" fmla="*/ 407146 w 407145"/>
                <a:gd name="connsiteY3" fmla="*/ 199697 h 1018233"/>
                <a:gd name="connsiteX4" fmla="*/ 407146 w 407145"/>
                <a:gd name="connsiteY4" fmla="*/ 358040 h 1018233"/>
                <a:gd name="connsiteX5" fmla="*/ 227807 w 407145"/>
                <a:gd name="connsiteY5" fmla="*/ 358040 h 1018233"/>
                <a:gd name="connsiteX6" fmla="*/ 227807 w 407145"/>
                <a:gd name="connsiteY6" fmla="*/ 746257 h 1018233"/>
                <a:gd name="connsiteX7" fmla="*/ 338169 w 407145"/>
                <a:gd name="connsiteY7" fmla="*/ 862499 h 1018233"/>
                <a:gd name="connsiteX8" fmla="*/ 402298 w 407145"/>
                <a:gd name="connsiteY8" fmla="*/ 857283 h 1018233"/>
                <a:gd name="connsiteX9" fmla="*/ 402298 w 407145"/>
                <a:gd name="connsiteY9" fmla="*/ 994389 h 1018233"/>
                <a:gd name="connsiteX10" fmla="*/ 244585 w 407145"/>
                <a:gd name="connsiteY10" fmla="*/ 1018233 h 1018233"/>
                <a:gd name="connsiteX11" fmla="*/ 0 w 407145"/>
                <a:gd name="connsiteY11" fmla="*/ 748865 h 1018233"/>
                <a:gd name="connsiteX12" fmla="*/ 0 w 407145"/>
                <a:gd name="connsiteY12" fmla="*/ 0 h 1018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07145" h="1018233">
                  <a:moveTo>
                    <a:pt x="0" y="0"/>
                  </a:moveTo>
                  <a:lnTo>
                    <a:pt x="227807" y="0"/>
                  </a:lnTo>
                  <a:lnTo>
                    <a:pt x="227807" y="199697"/>
                  </a:lnTo>
                  <a:lnTo>
                    <a:pt x="407146" y="199697"/>
                  </a:lnTo>
                  <a:lnTo>
                    <a:pt x="407146" y="358040"/>
                  </a:lnTo>
                  <a:lnTo>
                    <a:pt x="227807" y="358040"/>
                  </a:lnTo>
                  <a:lnTo>
                    <a:pt x="227807" y="746257"/>
                  </a:lnTo>
                  <a:cubicBezTo>
                    <a:pt x="227807" y="814810"/>
                    <a:pt x="269193" y="862499"/>
                    <a:pt x="338169" y="862499"/>
                  </a:cubicBezTo>
                  <a:cubicBezTo>
                    <a:pt x="375081" y="862499"/>
                    <a:pt x="395960" y="858774"/>
                    <a:pt x="402298" y="857283"/>
                  </a:cubicBezTo>
                  <a:lnTo>
                    <a:pt x="402298" y="994389"/>
                  </a:lnTo>
                  <a:cubicBezTo>
                    <a:pt x="390740" y="998115"/>
                    <a:pt x="328475" y="1018233"/>
                    <a:pt x="244585" y="1018233"/>
                  </a:cubicBezTo>
                  <a:cubicBezTo>
                    <a:pt x="58909" y="1018233"/>
                    <a:pt x="0" y="899756"/>
                    <a:pt x="0" y="748865"/>
                  </a:cubicBezTo>
                  <a:lnTo>
                    <a:pt x="0" y="0"/>
                  </a:lnTo>
                </a:path>
              </a:pathLst>
            </a:custGeom>
            <a:solidFill>
              <a:srgbClr val="FFFFFF"/>
            </a:solidFill>
            <a:ln w="3728" cap="flat">
              <a:noFill/>
              <a:prstDash val="solid"/>
              <a:miter/>
            </a:ln>
          </p:spPr>
          <p:txBody>
            <a:bodyPr rtlCol="0" anchor="ctr"/>
            <a:lstStyle/>
            <a:p>
              <a:endParaRPr lang="en-US"/>
            </a:p>
          </p:txBody>
        </p:sp>
        <p:sp>
          <p:nvSpPr>
            <p:cNvPr id="49" name="Freeform 48">
              <a:extLst>
                <a:ext uri="{FF2B5EF4-FFF2-40B4-BE49-F238E27FC236}">
                  <a16:creationId xmlns:a16="http://schemas.microsoft.com/office/drawing/2014/main" id="{354D8EC1-76BD-294A-BE98-22C6B03B1368}"/>
                </a:ext>
              </a:extLst>
            </p:cNvPr>
            <p:cNvSpPr/>
            <p:nvPr/>
          </p:nvSpPr>
          <p:spPr>
            <a:xfrm>
              <a:off x="6882328" y="3625716"/>
              <a:ext cx="969394" cy="1143416"/>
            </a:xfrm>
            <a:custGeom>
              <a:avLst/>
              <a:gdLst>
                <a:gd name="connsiteX0" fmla="*/ 390368 w 969394"/>
                <a:gd name="connsiteY0" fmla="*/ 0 h 1143416"/>
                <a:gd name="connsiteX1" fmla="*/ 0 w 969394"/>
                <a:gd name="connsiteY1" fmla="*/ 0 h 1143416"/>
                <a:gd name="connsiteX2" fmla="*/ 0 w 969394"/>
                <a:gd name="connsiteY2" fmla="*/ 1143417 h 1143416"/>
                <a:gd name="connsiteX3" fmla="*/ 390368 w 969394"/>
                <a:gd name="connsiteY3" fmla="*/ 1143417 h 1143416"/>
                <a:gd name="connsiteX4" fmla="*/ 969394 w 969394"/>
                <a:gd name="connsiteY4" fmla="*/ 571522 h 1143416"/>
                <a:gd name="connsiteX5" fmla="*/ 390368 w 969394"/>
                <a:gd name="connsiteY5" fmla="*/ 0 h 1143416"/>
                <a:gd name="connsiteX6" fmla="*/ 375827 w 969394"/>
                <a:gd name="connsiteY6" fmla="*/ 953406 h 1143416"/>
                <a:gd name="connsiteX7" fmla="*/ 245704 w 969394"/>
                <a:gd name="connsiteY7" fmla="*/ 953406 h 1143416"/>
                <a:gd name="connsiteX8" fmla="*/ 245704 w 969394"/>
                <a:gd name="connsiteY8" fmla="*/ 190011 h 1143416"/>
                <a:gd name="connsiteX9" fmla="*/ 375827 w 969394"/>
                <a:gd name="connsiteY9" fmla="*/ 190011 h 1143416"/>
                <a:gd name="connsiteX10" fmla="*/ 716979 w 969394"/>
                <a:gd name="connsiteY10" fmla="*/ 571895 h 1143416"/>
                <a:gd name="connsiteX11" fmla="*/ 375827 w 969394"/>
                <a:gd name="connsiteY11" fmla="*/ 953406 h 1143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394" h="1143416">
                  <a:moveTo>
                    <a:pt x="390368" y="0"/>
                  </a:moveTo>
                  <a:lnTo>
                    <a:pt x="0" y="0"/>
                  </a:lnTo>
                  <a:lnTo>
                    <a:pt x="0" y="1143417"/>
                  </a:lnTo>
                  <a:lnTo>
                    <a:pt x="390368" y="1143417"/>
                  </a:lnTo>
                  <a:cubicBezTo>
                    <a:pt x="753891" y="1143417"/>
                    <a:pt x="969394" y="969054"/>
                    <a:pt x="969394" y="571522"/>
                  </a:cubicBezTo>
                  <a:cubicBezTo>
                    <a:pt x="969022" y="173990"/>
                    <a:pt x="746061" y="0"/>
                    <a:pt x="390368" y="0"/>
                  </a:cubicBezTo>
                  <a:close/>
                  <a:moveTo>
                    <a:pt x="375827" y="953406"/>
                  </a:moveTo>
                  <a:lnTo>
                    <a:pt x="245704" y="953406"/>
                  </a:lnTo>
                  <a:lnTo>
                    <a:pt x="245704" y="190011"/>
                  </a:lnTo>
                  <a:lnTo>
                    <a:pt x="375827" y="190011"/>
                  </a:lnTo>
                  <a:cubicBezTo>
                    <a:pt x="671119" y="190011"/>
                    <a:pt x="716979" y="389708"/>
                    <a:pt x="716979" y="571895"/>
                  </a:cubicBezTo>
                  <a:cubicBezTo>
                    <a:pt x="716979" y="753709"/>
                    <a:pt x="673729" y="953406"/>
                    <a:pt x="375827" y="953406"/>
                  </a:cubicBezTo>
                  <a:close/>
                </a:path>
              </a:pathLst>
            </a:custGeom>
            <a:solidFill>
              <a:srgbClr val="FFFFFF"/>
            </a:solidFill>
            <a:ln w="3728" cap="flat">
              <a:noFill/>
              <a:prstDash val="solid"/>
              <a:miter/>
            </a:ln>
          </p:spPr>
          <p:txBody>
            <a:bodyPr rtlCol="0" anchor="ctr"/>
            <a:lstStyle/>
            <a:p>
              <a:endParaRPr lang="en-US"/>
            </a:p>
          </p:txBody>
        </p:sp>
        <p:sp>
          <p:nvSpPr>
            <p:cNvPr id="50" name="Freeform 49">
              <a:extLst>
                <a:ext uri="{FF2B5EF4-FFF2-40B4-BE49-F238E27FC236}">
                  <a16:creationId xmlns:a16="http://schemas.microsoft.com/office/drawing/2014/main" id="{9B385A52-EAC0-6348-8EA8-2E753D63717E}"/>
                </a:ext>
              </a:extLst>
            </p:cNvPr>
            <p:cNvSpPr/>
            <p:nvPr/>
          </p:nvSpPr>
          <p:spPr>
            <a:xfrm>
              <a:off x="10957886" y="3625716"/>
              <a:ext cx="235264" cy="1143416"/>
            </a:xfrm>
            <a:custGeom>
              <a:avLst/>
              <a:gdLst>
                <a:gd name="connsiteX0" fmla="*/ 0 w 235264"/>
                <a:gd name="connsiteY0" fmla="*/ 0 h 1143416"/>
                <a:gd name="connsiteX1" fmla="*/ 235265 w 235264"/>
                <a:gd name="connsiteY1" fmla="*/ 0 h 1143416"/>
                <a:gd name="connsiteX2" fmla="*/ 235265 w 235264"/>
                <a:gd name="connsiteY2" fmla="*/ 1143417 h 1143416"/>
                <a:gd name="connsiteX3" fmla="*/ 0 w 235264"/>
                <a:gd name="connsiteY3" fmla="*/ 1143417 h 1143416"/>
              </a:gdLst>
              <a:ahLst/>
              <a:cxnLst>
                <a:cxn ang="0">
                  <a:pos x="connsiteX0" y="connsiteY0"/>
                </a:cxn>
                <a:cxn ang="0">
                  <a:pos x="connsiteX1" y="connsiteY1"/>
                </a:cxn>
                <a:cxn ang="0">
                  <a:pos x="connsiteX2" y="connsiteY2"/>
                </a:cxn>
                <a:cxn ang="0">
                  <a:pos x="connsiteX3" y="connsiteY3"/>
                </a:cxn>
              </a:cxnLst>
              <a:rect l="l" t="t" r="r" b="b"/>
              <a:pathLst>
                <a:path w="235264" h="1143416">
                  <a:moveTo>
                    <a:pt x="0" y="0"/>
                  </a:moveTo>
                  <a:lnTo>
                    <a:pt x="235265" y="0"/>
                  </a:lnTo>
                  <a:lnTo>
                    <a:pt x="235265" y="1143417"/>
                  </a:lnTo>
                  <a:lnTo>
                    <a:pt x="0" y="1143417"/>
                  </a:lnTo>
                  <a:close/>
                </a:path>
              </a:pathLst>
            </a:custGeom>
            <a:solidFill>
              <a:srgbClr val="FFFFFF"/>
            </a:solidFill>
            <a:ln w="3728" cap="flat">
              <a:noFill/>
              <a:prstDash val="solid"/>
              <a:miter/>
            </a:ln>
          </p:spPr>
          <p:txBody>
            <a:bodyPr rtlCol="0" anchor="ctr"/>
            <a:lstStyle/>
            <a:p>
              <a:endParaRPr lang="en-US"/>
            </a:p>
          </p:txBody>
        </p:sp>
        <p:grpSp>
          <p:nvGrpSpPr>
            <p:cNvPr id="51" name="Graphic 5">
              <a:extLst>
                <a:ext uri="{FF2B5EF4-FFF2-40B4-BE49-F238E27FC236}">
                  <a16:creationId xmlns:a16="http://schemas.microsoft.com/office/drawing/2014/main" id="{F2CDB2A6-E83B-134B-A4AA-ED5101820D3B}"/>
                </a:ext>
              </a:extLst>
            </p:cNvPr>
            <p:cNvGrpSpPr/>
            <p:nvPr/>
          </p:nvGrpSpPr>
          <p:grpSpPr>
            <a:xfrm>
              <a:off x="11320290" y="4595888"/>
              <a:ext cx="197607" cy="197089"/>
              <a:chOff x="11320290" y="4595888"/>
              <a:chExt cx="197607" cy="197089"/>
            </a:xfrm>
            <a:solidFill>
              <a:srgbClr val="FFFFFF"/>
            </a:solidFill>
          </p:grpSpPr>
          <p:sp>
            <p:nvSpPr>
              <p:cNvPr id="61" name="Freeform 60">
                <a:extLst>
                  <a:ext uri="{FF2B5EF4-FFF2-40B4-BE49-F238E27FC236}">
                    <a16:creationId xmlns:a16="http://schemas.microsoft.com/office/drawing/2014/main" id="{A0F0BF7F-EE62-DC41-92AC-CC632542A152}"/>
                  </a:ext>
                </a:extLst>
              </p:cNvPr>
              <p:cNvSpPr/>
              <p:nvPr/>
            </p:nvSpPr>
            <p:spPr>
              <a:xfrm>
                <a:off x="11320290" y="4595888"/>
                <a:ext cx="197607" cy="197089"/>
              </a:xfrm>
              <a:custGeom>
                <a:avLst/>
                <a:gdLst>
                  <a:gd name="connsiteX0" fmla="*/ 99177 w 197607"/>
                  <a:gd name="connsiteY0" fmla="*/ 0 h 197089"/>
                  <a:gd name="connsiteX1" fmla="*/ 0 w 197607"/>
                  <a:gd name="connsiteY1" fmla="*/ 98358 h 197089"/>
                  <a:gd name="connsiteX2" fmla="*/ 99177 w 197607"/>
                  <a:gd name="connsiteY2" fmla="*/ 197089 h 197089"/>
                  <a:gd name="connsiteX3" fmla="*/ 197607 w 197607"/>
                  <a:gd name="connsiteY3" fmla="*/ 98358 h 197089"/>
                  <a:gd name="connsiteX4" fmla="*/ 99177 w 197607"/>
                  <a:gd name="connsiteY4" fmla="*/ 0 h 197089"/>
                  <a:gd name="connsiteX5" fmla="*/ 99177 w 197607"/>
                  <a:gd name="connsiteY5" fmla="*/ 179951 h 197089"/>
                  <a:gd name="connsiteX6" fmla="*/ 17523 w 197607"/>
                  <a:gd name="connsiteY6" fmla="*/ 98358 h 197089"/>
                  <a:gd name="connsiteX7" fmla="*/ 99177 w 197607"/>
                  <a:gd name="connsiteY7" fmla="*/ 17138 h 197089"/>
                  <a:gd name="connsiteX8" fmla="*/ 180457 w 197607"/>
                  <a:gd name="connsiteY8" fmla="*/ 98358 h 197089"/>
                  <a:gd name="connsiteX9" fmla="*/ 99177 w 197607"/>
                  <a:gd name="connsiteY9" fmla="*/ 179951 h 197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7607" h="197089">
                    <a:moveTo>
                      <a:pt x="99177" y="0"/>
                    </a:moveTo>
                    <a:cubicBezTo>
                      <a:pt x="44369" y="0"/>
                      <a:pt x="0" y="43963"/>
                      <a:pt x="0" y="98358"/>
                    </a:cubicBezTo>
                    <a:cubicBezTo>
                      <a:pt x="0" y="153126"/>
                      <a:pt x="43996" y="197089"/>
                      <a:pt x="99177" y="197089"/>
                    </a:cubicBezTo>
                    <a:cubicBezTo>
                      <a:pt x="153612" y="197089"/>
                      <a:pt x="197607" y="153126"/>
                      <a:pt x="197607" y="98358"/>
                    </a:cubicBezTo>
                    <a:cubicBezTo>
                      <a:pt x="197607" y="43963"/>
                      <a:pt x="153985" y="0"/>
                      <a:pt x="99177" y="0"/>
                    </a:cubicBezTo>
                    <a:close/>
                    <a:moveTo>
                      <a:pt x="99177" y="179951"/>
                    </a:moveTo>
                    <a:cubicBezTo>
                      <a:pt x="54062" y="179951"/>
                      <a:pt x="17523" y="143439"/>
                      <a:pt x="17523" y="98358"/>
                    </a:cubicBezTo>
                    <a:cubicBezTo>
                      <a:pt x="17523" y="53650"/>
                      <a:pt x="54062" y="17138"/>
                      <a:pt x="99177" y="17138"/>
                    </a:cubicBezTo>
                    <a:cubicBezTo>
                      <a:pt x="143918" y="17138"/>
                      <a:pt x="180457" y="53650"/>
                      <a:pt x="180457" y="98358"/>
                    </a:cubicBezTo>
                    <a:cubicBezTo>
                      <a:pt x="180457" y="143439"/>
                      <a:pt x="144290" y="179951"/>
                      <a:pt x="99177" y="179951"/>
                    </a:cubicBezTo>
                    <a:close/>
                  </a:path>
                </a:pathLst>
              </a:custGeom>
              <a:solidFill>
                <a:srgbClr val="FFFFFF"/>
              </a:solidFill>
              <a:ln w="3728" cap="flat">
                <a:noFill/>
                <a:prstDash val="solid"/>
                <a:miter/>
              </a:ln>
            </p:spPr>
            <p:txBody>
              <a:bodyPr rtlCol="0" anchor="ctr"/>
              <a:lstStyle/>
              <a:p>
                <a:endParaRPr lang="en-US"/>
              </a:p>
            </p:txBody>
          </p:sp>
          <p:sp>
            <p:nvSpPr>
              <p:cNvPr id="88" name="Freeform 87">
                <a:extLst>
                  <a:ext uri="{FF2B5EF4-FFF2-40B4-BE49-F238E27FC236}">
                    <a16:creationId xmlns:a16="http://schemas.microsoft.com/office/drawing/2014/main" id="{A36CC1E5-42FC-7249-91EA-063D71988721}"/>
                  </a:ext>
                </a:extLst>
              </p:cNvPr>
              <p:cNvSpPr/>
              <p:nvPr/>
            </p:nvSpPr>
            <p:spPr>
              <a:xfrm>
                <a:off x="11381809" y="4634635"/>
                <a:ext cx="78297" cy="116241"/>
              </a:xfrm>
              <a:custGeom>
                <a:avLst/>
                <a:gdLst>
                  <a:gd name="connsiteX0" fmla="*/ 74197 w 78297"/>
                  <a:gd name="connsiteY0" fmla="*/ 82338 h 116241"/>
                  <a:gd name="connsiteX1" fmla="*/ 55927 w 78297"/>
                  <a:gd name="connsiteY1" fmla="*/ 59611 h 116241"/>
                  <a:gd name="connsiteX2" fmla="*/ 55927 w 78297"/>
                  <a:gd name="connsiteY2" fmla="*/ 59239 h 116241"/>
                  <a:gd name="connsiteX3" fmla="*/ 77925 w 78297"/>
                  <a:gd name="connsiteY3" fmla="*/ 32041 h 116241"/>
                  <a:gd name="connsiteX4" fmla="*/ 36166 w 78297"/>
                  <a:gd name="connsiteY4" fmla="*/ 0 h 116241"/>
                  <a:gd name="connsiteX5" fmla="*/ 0 w 78297"/>
                  <a:gd name="connsiteY5" fmla="*/ 0 h 116241"/>
                  <a:gd name="connsiteX6" fmla="*/ 0 w 78297"/>
                  <a:gd name="connsiteY6" fmla="*/ 115869 h 116241"/>
                  <a:gd name="connsiteX7" fmla="*/ 19761 w 78297"/>
                  <a:gd name="connsiteY7" fmla="*/ 115869 h 116241"/>
                  <a:gd name="connsiteX8" fmla="*/ 19761 w 78297"/>
                  <a:gd name="connsiteY8" fmla="*/ 67435 h 116241"/>
                  <a:gd name="connsiteX9" fmla="*/ 32065 w 78297"/>
                  <a:gd name="connsiteY9" fmla="*/ 67435 h 116241"/>
                  <a:gd name="connsiteX10" fmla="*/ 56300 w 78297"/>
                  <a:gd name="connsiteY10" fmla="*/ 95378 h 116241"/>
                  <a:gd name="connsiteX11" fmla="*/ 58910 w 78297"/>
                  <a:gd name="connsiteY11" fmla="*/ 116242 h 116241"/>
                  <a:gd name="connsiteX12" fmla="*/ 78297 w 78297"/>
                  <a:gd name="connsiteY12" fmla="*/ 116242 h 116241"/>
                  <a:gd name="connsiteX13" fmla="*/ 74197 w 78297"/>
                  <a:gd name="connsiteY13" fmla="*/ 82338 h 116241"/>
                  <a:gd name="connsiteX14" fmla="*/ 37284 w 78297"/>
                  <a:gd name="connsiteY14" fmla="*/ 51415 h 116241"/>
                  <a:gd name="connsiteX15" fmla="*/ 19761 w 78297"/>
                  <a:gd name="connsiteY15" fmla="*/ 51415 h 116241"/>
                  <a:gd name="connsiteX16" fmla="*/ 19761 w 78297"/>
                  <a:gd name="connsiteY16" fmla="*/ 16393 h 116241"/>
                  <a:gd name="connsiteX17" fmla="*/ 37284 w 78297"/>
                  <a:gd name="connsiteY17" fmla="*/ 16393 h 116241"/>
                  <a:gd name="connsiteX18" fmla="*/ 57791 w 78297"/>
                  <a:gd name="connsiteY18" fmla="*/ 33904 h 116241"/>
                  <a:gd name="connsiteX19" fmla="*/ 37284 w 78297"/>
                  <a:gd name="connsiteY19" fmla="*/ 51415 h 116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8297" h="116241">
                    <a:moveTo>
                      <a:pt x="74197" y="82338"/>
                    </a:moveTo>
                    <a:cubicBezTo>
                      <a:pt x="72705" y="69671"/>
                      <a:pt x="67485" y="62219"/>
                      <a:pt x="55927" y="59611"/>
                    </a:cubicBezTo>
                    <a:lnTo>
                      <a:pt x="55927" y="59239"/>
                    </a:lnTo>
                    <a:cubicBezTo>
                      <a:pt x="67112" y="57003"/>
                      <a:pt x="77925" y="49552"/>
                      <a:pt x="77925" y="32041"/>
                    </a:cubicBezTo>
                    <a:cubicBezTo>
                      <a:pt x="77925" y="9314"/>
                      <a:pt x="59655" y="0"/>
                      <a:pt x="36166" y="0"/>
                    </a:cubicBezTo>
                    <a:lnTo>
                      <a:pt x="0" y="0"/>
                    </a:lnTo>
                    <a:lnTo>
                      <a:pt x="0" y="115869"/>
                    </a:lnTo>
                    <a:lnTo>
                      <a:pt x="19761" y="115869"/>
                    </a:lnTo>
                    <a:lnTo>
                      <a:pt x="19761" y="67435"/>
                    </a:lnTo>
                    <a:lnTo>
                      <a:pt x="32065" y="67435"/>
                    </a:lnTo>
                    <a:cubicBezTo>
                      <a:pt x="46979" y="67435"/>
                      <a:pt x="53690" y="74887"/>
                      <a:pt x="56300" y="95378"/>
                    </a:cubicBezTo>
                    <a:cubicBezTo>
                      <a:pt x="57045" y="102457"/>
                      <a:pt x="58910" y="116242"/>
                      <a:pt x="58910" y="116242"/>
                    </a:cubicBezTo>
                    <a:lnTo>
                      <a:pt x="78297" y="116242"/>
                    </a:lnTo>
                    <a:cubicBezTo>
                      <a:pt x="78297" y="116242"/>
                      <a:pt x="75688" y="94633"/>
                      <a:pt x="74197" y="82338"/>
                    </a:cubicBezTo>
                    <a:close/>
                    <a:moveTo>
                      <a:pt x="37284" y="51415"/>
                    </a:moveTo>
                    <a:lnTo>
                      <a:pt x="19761" y="51415"/>
                    </a:lnTo>
                    <a:lnTo>
                      <a:pt x="19761" y="16393"/>
                    </a:lnTo>
                    <a:lnTo>
                      <a:pt x="37284" y="16393"/>
                    </a:lnTo>
                    <a:cubicBezTo>
                      <a:pt x="51826" y="16393"/>
                      <a:pt x="57791" y="25335"/>
                      <a:pt x="57791" y="33904"/>
                    </a:cubicBezTo>
                    <a:cubicBezTo>
                      <a:pt x="57791" y="42846"/>
                      <a:pt x="51079" y="51415"/>
                      <a:pt x="37284" y="51415"/>
                    </a:cubicBezTo>
                    <a:close/>
                  </a:path>
                </a:pathLst>
              </a:custGeom>
              <a:solidFill>
                <a:srgbClr val="FFFFFF"/>
              </a:solidFill>
              <a:ln w="3728" cap="flat">
                <a:noFill/>
                <a:prstDash val="solid"/>
                <a:miter/>
              </a:ln>
            </p:spPr>
            <p:txBody>
              <a:bodyPr rtlCol="0" anchor="ctr"/>
              <a:lstStyle/>
              <a:p>
                <a:endParaRPr lang="en-US"/>
              </a:p>
            </p:txBody>
          </p:sp>
        </p:grpSp>
        <p:sp>
          <p:nvSpPr>
            <p:cNvPr id="52" name="Freeform 51">
              <a:extLst>
                <a:ext uri="{FF2B5EF4-FFF2-40B4-BE49-F238E27FC236}">
                  <a16:creationId xmlns:a16="http://schemas.microsoft.com/office/drawing/2014/main" id="{7BE677C8-0783-7148-BAF5-299E955A1F07}"/>
                </a:ext>
              </a:extLst>
            </p:cNvPr>
            <p:cNvSpPr/>
            <p:nvPr/>
          </p:nvSpPr>
          <p:spPr>
            <a:xfrm>
              <a:off x="8313676" y="3950224"/>
              <a:ext cx="781480" cy="1132612"/>
            </a:xfrm>
            <a:custGeom>
              <a:avLst/>
              <a:gdLst>
                <a:gd name="connsiteX0" fmla="*/ 553673 w 781480"/>
                <a:gd name="connsiteY0" fmla="*/ 23844 h 1132612"/>
                <a:gd name="connsiteX1" fmla="*/ 553673 w 781480"/>
                <a:gd name="connsiteY1" fmla="*/ 109163 h 1132612"/>
                <a:gd name="connsiteX2" fmla="*/ 550317 w 781480"/>
                <a:gd name="connsiteY2" fmla="*/ 109163 h 1132612"/>
                <a:gd name="connsiteX3" fmla="*/ 332204 w 781480"/>
                <a:gd name="connsiteY3" fmla="*/ 0 h 1132612"/>
                <a:gd name="connsiteX4" fmla="*/ 0 w 781480"/>
                <a:gd name="connsiteY4" fmla="*/ 401630 h 1132612"/>
                <a:gd name="connsiteX5" fmla="*/ 332204 w 781480"/>
                <a:gd name="connsiteY5" fmla="*/ 803261 h 1132612"/>
                <a:gd name="connsiteX6" fmla="*/ 550317 w 781480"/>
                <a:gd name="connsiteY6" fmla="*/ 694098 h 1132612"/>
                <a:gd name="connsiteX7" fmla="*/ 553673 w 781480"/>
                <a:gd name="connsiteY7" fmla="*/ 694098 h 1132612"/>
                <a:gd name="connsiteX8" fmla="*/ 553673 w 781480"/>
                <a:gd name="connsiteY8" fmla="*/ 784632 h 1132612"/>
                <a:gd name="connsiteX9" fmla="*/ 384775 w 781480"/>
                <a:gd name="connsiteY9" fmla="*/ 962348 h 1132612"/>
                <a:gd name="connsiteX10" fmla="*/ 211029 w 781480"/>
                <a:gd name="connsiteY10" fmla="*/ 865852 h 1132612"/>
                <a:gd name="connsiteX11" fmla="*/ 57418 w 781480"/>
                <a:gd name="connsiteY11" fmla="*/ 956014 h 1132612"/>
                <a:gd name="connsiteX12" fmla="*/ 392232 w 781480"/>
                <a:gd name="connsiteY12" fmla="*/ 1132612 h 1132612"/>
                <a:gd name="connsiteX13" fmla="*/ 781481 w 781480"/>
                <a:gd name="connsiteY13" fmla="*/ 729119 h 1132612"/>
                <a:gd name="connsiteX14" fmla="*/ 781481 w 781480"/>
                <a:gd name="connsiteY14" fmla="*/ 23844 h 1132612"/>
                <a:gd name="connsiteX15" fmla="*/ 553673 w 781480"/>
                <a:gd name="connsiteY15" fmla="*/ 23844 h 1132612"/>
                <a:gd name="connsiteX16" fmla="*/ 400062 w 781480"/>
                <a:gd name="connsiteY16" fmla="*/ 631878 h 1132612"/>
                <a:gd name="connsiteX17" fmla="*/ 246077 w 781480"/>
                <a:gd name="connsiteY17" fmla="*/ 401630 h 1132612"/>
                <a:gd name="connsiteX18" fmla="*/ 400062 w 781480"/>
                <a:gd name="connsiteY18" fmla="*/ 171382 h 1132612"/>
                <a:gd name="connsiteX19" fmla="*/ 554046 w 781480"/>
                <a:gd name="connsiteY19" fmla="*/ 401630 h 1132612"/>
                <a:gd name="connsiteX20" fmla="*/ 400062 w 781480"/>
                <a:gd name="connsiteY20" fmla="*/ 631878 h 1132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81480" h="1132612">
                  <a:moveTo>
                    <a:pt x="553673" y="23844"/>
                  </a:moveTo>
                  <a:lnTo>
                    <a:pt x="553673" y="109163"/>
                  </a:lnTo>
                  <a:lnTo>
                    <a:pt x="550317" y="109163"/>
                  </a:lnTo>
                  <a:cubicBezTo>
                    <a:pt x="536522" y="84573"/>
                    <a:pt x="480223" y="0"/>
                    <a:pt x="332204" y="0"/>
                  </a:cubicBezTo>
                  <a:cubicBezTo>
                    <a:pt x="88737" y="0"/>
                    <a:pt x="0" y="198952"/>
                    <a:pt x="0" y="401630"/>
                  </a:cubicBezTo>
                  <a:cubicBezTo>
                    <a:pt x="0" y="604681"/>
                    <a:pt x="88737" y="803261"/>
                    <a:pt x="332204" y="803261"/>
                  </a:cubicBezTo>
                  <a:cubicBezTo>
                    <a:pt x="482833" y="803261"/>
                    <a:pt x="538760" y="715334"/>
                    <a:pt x="550317" y="694098"/>
                  </a:cubicBezTo>
                  <a:lnTo>
                    <a:pt x="553673" y="694098"/>
                  </a:lnTo>
                  <a:lnTo>
                    <a:pt x="553673" y="784632"/>
                  </a:lnTo>
                  <a:cubicBezTo>
                    <a:pt x="553673" y="894168"/>
                    <a:pt x="475748" y="962348"/>
                    <a:pt x="384775" y="962348"/>
                  </a:cubicBezTo>
                  <a:cubicBezTo>
                    <a:pt x="280752" y="962348"/>
                    <a:pt x="225943" y="893050"/>
                    <a:pt x="211029" y="865852"/>
                  </a:cubicBezTo>
                  <a:cubicBezTo>
                    <a:pt x="190523" y="876284"/>
                    <a:pt x="57418" y="956014"/>
                    <a:pt x="57418" y="956014"/>
                  </a:cubicBezTo>
                  <a:cubicBezTo>
                    <a:pt x="73823" y="989545"/>
                    <a:pt x="142053" y="1132612"/>
                    <a:pt x="392232" y="1132612"/>
                  </a:cubicBezTo>
                  <a:cubicBezTo>
                    <a:pt x="655460" y="1132612"/>
                    <a:pt x="781481" y="964583"/>
                    <a:pt x="781481" y="729119"/>
                  </a:cubicBezTo>
                  <a:lnTo>
                    <a:pt x="781481" y="23844"/>
                  </a:lnTo>
                  <a:lnTo>
                    <a:pt x="553673" y="23844"/>
                  </a:lnTo>
                  <a:close/>
                  <a:moveTo>
                    <a:pt x="400062" y="631878"/>
                  </a:moveTo>
                  <a:cubicBezTo>
                    <a:pt x="269939" y="631878"/>
                    <a:pt x="246077" y="504459"/>
                    <a:pt x="246077" y="401630"/>
                  </a:cubicBezTo>
                  <a:cubicBezTo>
                    <a:pt x="246077" y="284271"/>
                    <a:pt x="278888" y="171382"/>
                    <a:pt x="400062" y="171382"/>
                  </a:cubicBezTo>
                  <a:cubicBezTo>
                    <a:pt x="520490" y="171382"/>
                    <a:pt x="554046" y="284643"/>
                    <a:pt x="554046" y="401630"/>
                  </a:cubicBezTo>
                  <a:cubicBezTo>
                    <a:pt x="553673" y="504832"/>
                    <a:pt x="527201" y="631878"/>
                    <a:pt x="400062" y="631878"/>
                  </a:cubicBezTo>
                  <a:close/>
                </a:path>
              </a:pathLst>
            </a:custGeom>
            <a:solidFill>
              <a:srgbClr val="FFFFFF"/>
            </a:solidFill>
            <a:ln w="3728" cap="flat">
              <a:noFill/>
              <a:prstDash val="solid"/>
              <a:miter/>
            </a:ln>
          </p:spPr>
          <p:txBody>
            <a:bodyPr rtlCol="0" anchor="ctr"/>
            <a:lstStyle/>
            <a:p>
              <a:endParaRPr lang="en-US"/>
            </a:p>
          </p:txBody>
        </p:sp>
        <p:sp>
          <p:nvSpPr>
            <p:cNvPr id="53" name="Freeform 52">
              <a:extLst>
                <a:ext uri="{FF2B5EF4-FFF2-40B4-BE49-F238E27FC236}">
                  <a16:creationId xmlns:a16="http://schemas.microsoft.com/office/drawing/2014/main" id="{28F11CA7-7BD9-2C43-821D-49522F5790C6}"/>
                </a:ext>
              </a:extLst>
            </p:cNvPr>
            <p:cNvSpPr/>
            <p:nvPr/>
          </p:nvSpPr>
          <p:spPr>
            <a:xfrm>
              <a:off x="10087668" y="3950224"/>
              <a:ext cx="713623" cy="842007"/>
            </a:xfrm>
            <a:custGeom>
              <a:avLst/>
              <a:gdLst>
                <a:gd name="connsiteX0" fmla="*/ 334068 w 713623"/>
                <a:gd name="connsiteY0" fmla="*/ 0 h 842007"/>
                <a:gd name="connsiteX1" fmla="*/ 21624 w 713623"/>
                <a:gd name="connsiteY1" fmla="*/ 141204 h 842007"/>
                <a:gd name="connsiteX2" fmla="*/ 154357 w 713623"/>
                <a:gd name="connsiteY2" fmla="*/ 242543 h 842007"/>
                <a:gd name="connsiteX3" fmla="*/ 318035 w 713623"/>
                <a:gd name="connsiteY3" fmla="*/ 163186 h 842007"/>
                <a:gd name="connsiteX4" fmla="*/ 484697 w 713623"/>
                <a:gd name="connsiteY4" fmla="*/ 298428 h 842007"/>
                <a:gd name="connsiteX5" fmla="*/ 484697 w 713623"/>
                <a:gd name="connsiteY5" fmla="*/ 315939 h 842007"/>
                <a:gd name="connsiteX6" fmla="*/ 383656 w 713623"/>
                <a:gd name="connsiteY6" fmla="*/ 315939 h 842007"/>
                <a:gd name="connsiteX7" fmla="*/ 0 w 713623"/>
                <a:gd name="connsiteY7" fmla="*/ 584190 h 842007"/>
                <a:gd name="connsiteX8" fmla="*/ 260244 w 713623"/>
                <a:gd name="connsiteY8" fmla="*/ 842008 h 842007"/>
                <a:gd name="connsiteX9" fmla="*/ 488052 w 713623"/>
                <a:gd name="connsiteY9" fmla="*/ 738806 h 842007"/>
                <a:gd name="connsiteX10" fmla="*/ 491035 w 713623"/>
                <a:gd name="connsiteY10" fmla="*/ 738806 h 842007"/>
                <a:gd name="connsiteX11" fmla="*/ 491035 w 713623"/>
                <a:gd name="connsiteY11" fmla="*/ 818163 h 842007"/>
                <a:gd name="connsiteX12" fmla="*/ 713623 w 713623"/>
                <a:gd name="connsiteY12" fmla="*/ 818163 h 842007"/>
                <a:gd name="connsiteX13" fmla="*/ 713623 w 713623"/>
                <a:gd name="connsiteY13" fmla="*/ 315194 h 842007"/>
                <a:gd name="connsiteX14" fmla="*/ 334068 w 713623"/>
                <a:gd name="connsiteY14" fmla="*/ 0 h 842007"/>
                <a:gd name="connsiteX15" fmla="*/ 484697 w 713623"/>
                <a:gd name="connsiteY15" fmla="*/ 502597 h 842007"/>
                <a:gd name="connsiteX16" fmla="*/ 344508 w 713623"/>
                <a:gd name="connsiteY16" fmla="*/ 678450 h 842007"/>
                <a:gd name="connsiteX17" fmla="*/ 228553 w 713623"/>
                <a:gd name="connsiteY17" fmla="*/ 571150 h 842007"/>
                <a:gd name="connsiteX18" fmla="*/ 394468 w 713623"/>
                <a:gd name="connsiteY18" fmla="*/ 454535 h 842007"/>
                <a:gd name="connsiteX19" fmla="*/ 484697 w 713623"/>
                <a:gd name="connsiteY19" fmla="*/ 454535 h 842007"/>
                <a:gd name="connsiteX20" fmla="*/ 484697 w 713623"/>
                <a:gd name="connsiteY20" fmla="*/ 502597 h 842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13623" h="842007">
                  <a:moveTo>
                    <a:pt x="334068" y="0"/>
                  </a:moveTo>
                  <a:cubicBezTo>
                    <a:pt x="123039" y="0"/>
                    <a:pt x="43623" y="113261"/>
                    <a:pt x="21624" y="141204"/>
                  </a:cubicBezTo>
                  <a:lnTo>
                    <a:pt x="154357" y="242543"/>
                  </a:lnTo>
                  <a:cubicBezTo>
                    <a:pt x="175609" y="213482"/>
                    <a:pt x="227062" y="163186"/>
                    <a:pt x="318035" y="163186"/>
                  </a:cubicBezTo>
                  <a:cubicBezTo>
                    <a:pt x="420567" y="163186"/>
                    <a:pt x="484697" y="212737"/>
                    <a:pt x="484697" y="298428"/>
                  </a:cubicBezTo>
                  <a:lnTo>
                    <a:pt x="484697" y="315939"/>
                  </a:lnTo>
                  <a:cubicBezTo>
                    <a:pt x="484697" y="315939"/>
                    <a:pt x="394468" y="315939"/>
                    <a:pt x="383656" y="315939"/>
                  </a:cubicBezTo>
                  <a:cubicBezTo>
                    <a:pt x="151374" y="315939"/>
                    <a:pt x="0" y="401630"/>
                    <a:pt x="0" y="584190"/>
                  </a:cubicBezTo>
                  <a:cubicBezTo>
                    <a:pt x="0" y="739551"/>
                    <a:pt x="111107" y="842008"/>
                    <a:pt x="260244" y="842008"/>
                  </a:cubicBezTo>
                  <a:cubicBezTo>
                    <a:pt x="420941" y="842008"/>
                    <a:pt x="476122" y="754826"/>
                    <a:pt x="488052" y="738806"/>
                  </a:cubicBezTo>
                  <a:lnTo>
                    <a:pt x="491035" y="738806"/>
                  </a:lnTo>
                  <a:cubicBezTo>
                    <a:pt x="491035" y="771965"/>
                    <a:pt x="491035" y="818163"/>
                    <a:pt x="491035" y="818163"/>
                  </a:cubicBezTo>
                  <a:lnTo>
                    <a:pt x="713623" y="818163"/>
                  </a:lnTo>
                  <a:lnTo>
                    <a:pt x="713623" y="315194"/>
                  </a:lnTo>
                  <a:cubicBezTo>
                    <a:pt x="713623" y="87926"/>
                    <a:pt x="531675" y="0"/>
                    <a:pt x="334068" y="0"/>
                  </a:cubicBezTo>
                  <a:close/>
                  <a:moveTo>
                    <a:pt x="484697" y="502597"/>
                  </a:moveTo>
                  <a:cubicBezTo>
                    <a:pt x="484324" y="596112"/>
                    <a:pt x="443684" y="678450"/>
                    <a:pt x="344508" y="678450"/>
                  </a:cubicBezTo>
                  <a:cubicBezTo>
                    <a:pt x="278141" y="678450"/>
                    <a:pt x="228553" y="637839"/>
                    <a:pt x="228553" y="571150"/>
                  </a:cubicBezTo>
                  <a:cubicBezTo>
                    <a:pt x="228553" y="504459"/>
                    <a:pt x="274413" y="454535"/>
                    <a:pt x="394468" y="454535"/>
                  </a:cubicBezTo>
                  <a:cubicBezTo>
                    <a:pt x="400434" y="454535"/>
                    <a:pt x="484697" y="454535"/>
                    <a:pt x="484697" y="454535"/>
                  </a:cubicBezTo>
                  <a:cubicBezTo>
                    <a:pt x="484697" y="454535"/>
                    <a:pt x="484697" y="501479"/>
                    <a:pt x="484697" y="502597"/>
                  </a:cubicBezTo>
                  <a:close/>
                </a:path>
              </a:pathLst>
            </a:custGeom>
            <a:solidFill>
              <a:srgbClr val="FFFFFF"/>
            </a:solidFill>
            <a:ln w="3728" cap="flat">
              <a:noFill/>
              <a:prstDash val="solid"/>
              <a:miter/>
            </a:ln>
          </p:spPr>
          <p:txBody>
            <a:bodyPr rtlCol="0" anchor="ctr"/>
            <a:lstStyle/>
            <a:p>
              <a:endParaRPr lang="en-US"/>
            </a:p>
          </p:txBody>
        </p:sp>
        <p:sp>
          <p:nvSpPr>
            <p:cNvPr id="54" name="Freeform 53">
              <a:extLst>
                <a:ext uri="{FF2B5EF4-FFF2-40B4-BE49-F238E27FC236}">
                  <a16:creationId xmlns:a16="http://schemas.microsoft.com/office/drawing/2014/main" id="{598737F4-AEB6-7949-8DFC-A2EA8FE0B9E4}"/>
                </a:ext>
              </a:extLst>
            </p:cNvPr>
            <p:cNvSpPr/>
            <p:nvPr/>
          </p:nvSpPr>
          <p:spPr>
            <a:xfrm>
              <a:off x="7972151" y="3974069"/>
              <a:ext cx="235264" cy="795064"/>
            </a:xfrm>
            <a:custGeom>
              <a:avLst/>
              <a:gdLst>
                <a:gd name="connsiteX0" fmla="*/ 0 w 235264"/>
                <a:gd name="connsiteY0" fmla="*/ 0 h 795064"/>
                <a:gd name="connsiteX1" fmla="*/ 235265 w 235264"/>
                <a:gd name="connsiteY1" fmla="*/ 0 h 795064"/>
                <a:gd name="connsiteX2" fmla="*/ 235265 w 235264"/>
                <a:gd name="connsiteY2" fmla="*/ 795064 h 795064"/>
                <a:gd name="connsiteX3" fmla="*/ 0 w 235264"/>
                <a:gd name="connsiteY3" fmla="*/ 795064 h 795064"/>
              </a:gdLst>
              <a:ahLst/>
              <a:cxnLst>
                <a:cxn ang="0">
                  <a:pos x="connsiteX0" y="connsiteY0"/>
                </a:cxn>
                <a:cxn ang="0">
                  <a:pos x="connsiteX1" y="connsiteY1"/>
                </a:cxn>
                <a:cxn ang="0">
                  <a:pos x="connsiteX2" y="connsiteY2"/>
                </a:cxn>
                <a:cxn ang="0">
                  <a:pos x="connsiteX3" y="connsiteY3"/>
                </a:cxn>
              </a:cxnLst>
              <a:rect l="l" t="t" r="r" b="b"/>
              <a:pathLst>
                <a:path w="235264" h="795064">
                  <a:moveTo>
                    <a:pt x="0" y="0"/>
                  </a:moveTo>
                  <a:lnTo>
                    <a:pt x="235265" y="0"/>
                  </a:lnTo>
                  <a:lnTo>
                    <a:pt x="235265" y="795064"/>
                  </a:lnTo>
                  <a:lnTo>
                    <a:pt x="0" y="795064"/>
                  </a:lnTo>
                  <a:close/>
                </a:path>
              </a:pathLst>
            </a:custGeom>
            <a:solidFill>
              <a:srgbClr val="FFFFFF"/>
            </a:solidFill>
            <a:ln w="3728" cap="flat">
              <a:noFill/>
              <a:prstDash val="solid"/>
              <a:miter/>
            </a:ln>
          </p:spPr>
          <p:txBody>
            <a:bodyPr rtlCol="0" anchor="ctr"/>
            <a:lstStyle/>
            <a:p>
              <a:endParaRPr lang="en-US"/>
            </a:p>
          </p:txBody>
        </p:sp>
        <p:sp>
          <p:nvSpPr>
            <p:cNvPr id="55" name="Freeform 54">
              <a:extLst>
                <a:ext uri="{FF2B5EF4-FFF2-40B4-BE49-F238E27FC236}">
                  <a16:creationId xmlns:a16="http://schemas.microsoft.com/office/drawing/2014/main" id="{76821C70-7144-BD40-9F50-37D8F6FDB777}"/>
                </a:ext>
              </a:extLst>
            </p:cNvPr>
            <p:cNvSpPr/>
            <p:nvPr/>
          </p:nvSpPr>
          <p:spPr>
            <a:xfrm>
              <a:off x="7961338" y="3606342"/>
              <a:ext cx="256516" cy="256328"/>
            </a:xfrm>
            <a:custGeom>
              <a:avLst/>
              <a:gdLst>
                <a:gd name="connsiteX0" fmla="*/ 256517 w 256516"/>
                <a:gd name="connsiteY0" fmla="*/ 128164 h 256328"/>
                <a:gd name="connsiteX1" fmla="*/ 128259 w 256516"/>
                <a:gd name="connsiteY1" fmla="*/ 256328 h 256328"/>
                <a:gd name="connsiteX2" fmla="*/ 1 w 256516"/>
                <a:gd name="connsiteY2" fmla="*/ 128164 h 256328"/>
                <a:gd name="connsiteX3" fmla="*/ 128259 w 256516"/>
                <a:gd name="connsiteY3" fmla="*/ 0 h 256328"/>
                <a:gd name="connsiteX4" fmla="*/ 256517 w 256516"/>
                <a:gd name="connsiteY4" fmla="*/ 128164 h 256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516" h="256328">
                  <a:moveTo>
                    <a:pt x="256517" y="128164"/>
                  </a:moveTo>
                  <a:cubicBezTo>
                    <a:pt x="256517" y="198947"/>
                    <a:pt x="199094" y="256328"/>
                    <a:pt x="128259" y="256328"/>
                  </a:cubicBezTo>
                  <a:cubicBezTo>
                    <a:pt x="57424" y="256328"/>
                    <a:pt x="1" y="198947"/>
                    <a:pt x="1" y="128164"/>
                  </a:cubicBezTo>
                  <a:cubicBezTo>
                    <a:pt x="1" y="57381"/>
                    <a:pt x="57424" y="0"/>
                    <a:pt x="128259" y="0"/>
                  </a:cubicBezTo>
                  <a:cubicBezTo>
                    <a:pt x="199094" y="0"/>
                    <a:pt x="256517" y="57381"/>
                    <a:pt x="256517" y="128164"/>
                  </a:cubicBezTo>
                  <a:close/>
                </a:path>
              </a:pathLst>
            </a:custGeom>
            <a:solidFill>
              <a:srgbClr val="FFFFFF"/>
            </a:solidFill>
            <a:ln w="3728" cap="flat">
              <a:noFill/>
              <a:prstDash val="solid"/>
              <a:miter/>
            </a:ln>
          </p:spPr>
          <p:txBody>
            <a:bodyPr rtlCol="0" anchor="ctr"/>
            <a:lstStyle/>
            <a:p>
              <a:endParaRPr lang="en-US"/>
            </a:p>
          </p:txBody>
        </p:sp>
        <p:sp>
          <p:nvSpPr>
            <p:cNvPr id="56" name="Freeform 55">
              <a:extLst>
                <a:ext uri="{FF2B5EF4-FFF2-40B4-BE49-F238E27FC236}">
                  <a16:creationId xmlns:a16="http://schemas.microsoft.com/office/drawing/2014/main" id="{6E891871-5132-4A47-B400-521B6B131515}"/>
                </a:ext>
              </a:extLst>
            </p:cNvPr>
            <p:cNvSpPr/>
            <p:nvPr/>
          </p:nvSpPr>
          <p:spPr>
            <a:xfrm>
              <a:off x="9249514" y="3974069"/>
              <a:ext cx="235264" cy="795064"/>
            </a:xfrm>
            <a:custGeom>
              <a:avLst/>
              <a:gdLst>
                <a:gd name="connsiteX0" fmla="*/ 0 w 235264"/>
                <a:gd name="connsiteY0" fmla="*/ 0 h 795064"/>
                <a:gd name="connsiteX1" fmla="*/ 235265 w 235264"/>
                <a:gd name="connsiteY1" fmla="*/ 0 h 795064"/>
                <a:gd name="connsiteX2" fmla="*/ 235265 w 235264"/>
                <a:gd name="connsiteY2" fmla="*/ 795064 h 795064"/>
                <a:gd name="connsiteX3" fmla="*/ 0 w 235264"/>
                <a:gd name="connsiteY3" fmla="*/ 795064 h 795064"/>
              </a:gdLst>
              <a:ahLst/>
              <a:cxnLst>
                <a:cxn ang="0">
                  <a:pos x="connsiteX0" y="connsiteY0"/>
                </a:cxn>
                <a:cxn ang="0">
                  <a:pos x="connsiteX1" y="connsiteY1"/>
                </a:cxn>
                <a:cxn ang="0">
                  <a:pos x="connsiteX2" y="connsiteY2"/>
                </a:cxn>
                <a:cxn ang="0">
                  <a:pos x="connsiteX3" y="connsiteY3"/>
                </a:cxn>
              </a:cxnLst>
              <a:rect l="l" t="t" r="r" b="b"/>
              <a:pathLst>
                <a:path w="235264" h="795064">
                  <a:moveTo>
                    <a:pt x="0" y="0"/>
                  </a:moveTo>
                  <a:lnTo>
                    <a:pt x="235265" y="0"/>
                  </a:lnTo>
                  <a:lnTo>
                    <a:pt x="235265" y="795064"/>
                  </a:lnTo>
                  <a:lnTo>
                    <a:pt x="0" y="795064"/>
                  </a:lnTo>
                  <a:close/>
                </a:path>
              </a:pathLst>
            </a:custGeom>
            <a:solidFill>
              <a:srgbClr val="FFFFFF"/>
            </a:solidFill>
            <a:ln w="3728" cap="flat">
              <a:noFill/>
              <a:prstDash val="solid"/>
              <a:miter/>
            </a:ln>
          </p:spPr>
          <p:txBody>
            <a:bodyPr rtlCol="0" anchor="ctr"/>
            <a:lstStyle/>
            <a:p>
              <a:endParaRPr lang="en-US"/>
            </a:p>
          </p:txBody>
        </p:sp>
        <p:sp>
          <p:nvSpPr>
            <p:cNvPr id="58" name="Freeform 57">
              <a:extLst>
                <a:ext uri="{FF2B5EF4-FFF2-40B4-BE49-F238E27FC236}">
                  <a16:creationId xmlns:a16="http://schemas.microsoft.com/office/drawing/2014/main" id="{022BAEFD-88F1-8C41-9E91-DEFC29177D46}"/>
                </a:ext>
              </a:extLst>
            </p:cNvPr>
            <p:cNvSpPr/>
            <p:nvPr/>
          </p:nvSpPr>
          <p:spPr>
            <a:xfrm>
              <a:off x="9238702" y="3606342"/>
              <a:ext cx="256516" cy="256328"/>
            </a:xfrm>
            <a:custGeom>
              <a:avLst/>
              <a:gdLst>
                <a:gd name="connsiteX0" fmla="*/ 256517 w 256516"/>
                <a:gd name="connsiteY0" fmla="*/ 128164 h 256328"/>
                <a:gd name="connsiteX1" fmla="*/ 128259 w 256516"/>
                <a:gd name="connsiteY1" fmla="*/ 256328 h 256328"/>
                <a:gd name="connsiteX2" fmla="*/ 1 w 256516"/>
                <a:gd name="connsiteY2" fmla="*/ 128164 h 256328"/>
                <a:gd name="connsiteX3" fmla="*/ 128259 w 256516"/>
                <a:gd name="connsiteY3" fmla="*/ 0 h 256328"/>
                <a:gd name="connsiteX4" fmla="*/ 256517 w 256516"/>
                <a:gd name="connsiteY4" fmla="*/ 128164 h 256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516" h="256328">
                  <a:moveTo>
                    <a:pt x="256517" y="128164"/>
                  </a:moveTo>
                  <a:cubicBezTo>
                    <a:pt x="256517" y="198947"/>
                    <a:pt x="199093" y="256328"/>
                    <a:pt x="128259" y="256328"/>
                  </a:cubicBezTo>
                  <a:cubicBezTo>
                    <a:pt x="57424" y="256328"/>
                    <a:pt x="1" y="198947"/>
                    <a:pt x="1" y="128164"/>
                  </a:cubicBezTo>
                  <a:cubicBezTo>
                    <a:pt x="1" y="57381"/>
                    <a:pt x="57424" y="0"/>
                    <a:pt x="128259" y="0"/>
                  </a:cubicBezTo>
                  <a:cubicBezTo>
                    <a:pt x="199093" y="0"/>
                    <a:pt x="256517" y="57381"/>
                    <a:pt x="256517" y="128164"/>
                  </a:cubicBezTo>
                  <a:close/>
                </a:path>
              </a:pathLst>
            </a:custGeom>
            <a:solidFill>
              <a:srgbClr val="FFFFFF"/>
            </a:solidFill>
            <a:ln w="3728" cap="flat">
              <a:noFill/>
              <a:prstDash val="solid"/>
              <a:miter/>
            </a:ln>
          </p:spPr>
          <p:txBody>
            <a:bodyPr rtlCol="0" anchor="ctr"/>
            <a:lstStyle/>
            <a:p>
              <a:endParaRPr lang="en-US"/>
            </a:p>
          </p:txBody>
        </p:sp>
        <p:sp>
          <p:nvSpPr>
            <p:cNvPr id="59" name="Freeform 58">
              <a:extLst>
                <a:ext uri="{FF2B5EF4-FFF2-40B4-BE49-F238E27FC236}">
                  <a16:creationId xmlns:a16="http://schemas.microsoft.com/office/drawing/2014/main" id="{6585655D-0302-5F43-843F-720451586957}"/>
                </a:ext>
              </a:extLst>
            </p:cNvPr>
            <p:cNvSpPr/>
            <p:nvPr/>
          </p:nvSpPr>
          <p:spPr>
            <a:xfrm>
              <a:off x="11315443" y="2974836"/>
              <a:ext cx="188286" cy="89044"/>
            </a:xfrm>
            <a:custGeom>
              <a:avLst/>
              <a:gdLst>
                <a:gd name="connsiteX0" fmla="*/ 71587 w 188286"/>
                <a:gd name="connsiteY0" fmla="*/ 14158 h 89044"/>
                <a:gd name="connsiteX1" fmla="*/ 44369 w 188286"/>
                <a:gd name="connsiteY1" fmla="*/ 14158 h 89044"/>
                <a:gd name="connsiteX2" fmla="*/ 44369 w 188286"/>
                <a:gd name="connsiteY2" fmla="*/ 89044 h 89044"/>
                <a:gd name="connsiteX3" fmla="*/ 27218 w 188286"/>
                <a:gd name="connsiteY3" fmla="*/ 89044 h 89044"/>
                <a:gd name="connsiteX4" fmla="*/ 27218 w 188286"/>
                <a:gd name="connsiteY4" fmla="*/ 14158 h 89044"/>
                <a:gd name="connsiteX5" fmla="*/ 0 w 188286"/>
                <a:gd name="connsiteY5" fmla="*/ 14158 h 89044"/>
                <a:gd name="connsiteX6" fmla="*/ 0 w 188286"/>
                <a:gd name="connsiteY6" fmla="*/ 0 h 89044"/>
                <a:gd name="connsiteX7" fmla="*/ 71587 w 188286"/>
                <a:gd name="connsiteY7" fmla="*/ 0 h 89044"/>
                <a:gd name="connsiteX8" fmla="*/ 71587 w 188286"/>
                <a:gd name="connsiteY8" fmla="*/ 14158 h 89044"/>
                <a:gd name="connsiteX9" fmla="*/ 71587 w 188286"/>
                <a:gd name="connsiteY9" fmla="*/ 14158 h 89044"/>
                <a:gd name="connsiteX10" fmla="*/ 139071 w 188286"/>
                <a:gd name="connsiteY10" fmla="*/ 62964 h 89044"/>
                <a:gd name="connsiteX11" fmla="*/ 163306 w 188286"/>
                <a:gd name="connsiteY11" fmla="*/ 0 h 89044"/>
                <a:gd name="connsiteX12" fmla="*/ 188286 w 188286"/>
                <a:gd name="connsiteY12" fmla="*/ 0 h 89044"/>
                <a:gd name="connsiteX13" fmla="*/ 188286 w 188286"/>
                <a:gd name="connsiteY13" fmla="*/ 88672 h 89044"/>
                <a:gd name="connsiteX14" fmla="*/ 172255 w 188286"/>
                <a:gd name="connsiteY14" fmla="*/ 88672 h 89044"/>
                <a:gd name="connsiteX15" fmla="*/ 172255 w 188286"/>
                <a:gd name="connsiteY15" fmla="*/ 19374 h 89044"/>
                <a:gd name="connsiteX16" fmla="*/ 171881 w 188286"/>
                <a:gd name="connsiteY16" fmla="*/ 19374 h 89044"/>
                <a:gd name="connsiteX17" fmla="*/ 145409 w 188286"/>
                <a:gd name="connsiteY17" fmla="*/ 88672 h 89044"/>
                <a:gd name="connsiteX18" fmla="*/ 133478 w 188286"/>
                <a:gd name="connsiteY18" fmla="*/ 88672 h 89044"/>
                <a:gd name="connsiteX19" fmla="*/ 107007 w 188286"/>
                <a:gd name="connsiteY19" fmla="*/ 19374 h 89044"/>
                <a:gd name="connsiteX20" fmla="*/ 106634 w 188286"/>
                <a:gd name="connsiteY20" fmla="*/ 19374 h 89044"/>
                <a:gd name="connsiteX21" fmla="*/ 106634 w 188286"/>
                <a:gd name="connsiteY21" fmla="*/ 88672 h 89044"/>
                <a:gd name="connsiteX22" fmla="*/ 90601 w 188286"/>
                <a:gd name="connsiteY22" fmla="*/ 88672 h 89044"/>
                <a:gd name="connsiteX23" fmla="*/ 90601 w 188286"/>
                <a:gd name="connsiteY23" fmla="*/ 0 h 89044"/>
                <a:gd name="connsiteX24" fmla="*/ 115582 w 188286"/>
                <a:gd name="connsiteY24" fmla="*/ 0 h 89044"/>
                <a:gd name="connsiteX25" fmla="*/ 139071 w 188286"/>
                <a:gd name="connsiteY25" fmla="*/ 62964 h 89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8286" h="89044">
                  <a:moveTo>
                    <a:pt x="71587" y="14158"/>
                  </a:moveTo>
                  <a:lnTo>
                    <a:pt x="44369" y="14158"/>
                  </a:lnTo>
                  <a:lnTo>
                    <a:pt x="44369" y="89044"/>
                  </a:lnTo>
                  <a:lnTo>
                    <a:pt x="27218" y="89044"/>
                  </a:lnTo>
                  <a:lnTo>
                    <a:pt x="27218" y="14158"/>
                  </a:lnTo>
                  <a:lnTo>
                    <a:pt x="0" y="14158"/>
                  </a:lnTo>
                  <a:lnTo>
                    <a:pt x="0" y="0"/>
                  </a:lnTo>
                  <a:lnTo>
                    <a:pt x="71587" y="0"/>
                  </a:lnTo>
                  <a:lnTo>
                    <a:pt x="71587" y="14158"/>
                  </a:lnTo>
                  <a:lnTo>
                    <a:pt x="71587" y="14158"/>
                  </a:lnTo>
                  <a:close/>
                  <a:moveTo>
                    <a:pt x="139071" y="62964"/>
                  </a:moveTo>
                  <a:lnTo>
                    <a:pt x="163306" y="0"/>
                  </a:lnTo>
                  <a:lnTo>
                    <a:pt x="188286" y="0"/>
                  </a:lnTo>
                  <a:lnTo>
                    <a:pt x="188286" y="88672"/>
                  </a:lnTo>
                  <a:lnTo>
                    <a:pt x="172255" y="88672"/>
                  </a:lnTo>
                  <a:lnTo>
                    <a:pt x="172255" y="19374"/>
                  </a:lnTo>
                  <a:lnTo>
                    <a:pt x="171881" y="19374"/>
                  </a:lnTo>
                  <a:lnTo>
                    <a:pt x="145409" y="88672"/>
                  </a:lnTo>
                  <a:lnTo>
                    <a:pt x="133478" y="88672"/>
                  </a:lnTo>
                  <a:lnTo>
                    <a:pt x="107007" y="19374"/>
                  </a:lnTo>
                  <a:lnTo>
                    <a:pt x="106634" y="19374"/>
                  </a:lnTo>
                  <a:lnTo>
                    <a:pt x="106634" y="88672"/>
                  </a:lnTo>
                  <a:lnTo>
                    <a:pt x="90601" y="88672"/>
                  </a:lnTo>
                  <a:lnTo>
                    <a:pt x="90601" y="0"/>
                  </a:lnTo>
                  <a:lnTo>
                    <a:pt x="115582" y="0"/>
                  </a:lnTo>
                  <a:lnTo>
                    <a:pt x="139071" y="62964"/>
                  </a:lnTo>
                  <a:close/>
                </a:path>
              </a:pathLst>
            </a:custGeom>
            <a:solidFill>
              <a:schemeClr val="accent2"/>
            </a:solidFill>
            <a:ln w="3728" cap="flat">
              <a:noFill/>
              <a:prstDash val="solid"/>
              <a:miter/>
            </a:ln>
          </p:spPr>
          <p:txBody>
            <a:bodyPr rtlCol="0" anchor="ctr"/>
            <a:lstStyle/>
            <a:p>
              <a:endParaRPr lang="en-US"/>
            </a:p>
          </p:txBody>
        </p:sp>
      </p:grpSp>
    </p:spTree>
    <p:extLst>
      <p:ext uri="{BB962C8B-B14F-4D97-AF65-F5344CB8AC3E}">
        <p14:creationId xmlns:p14="http://schemas.microsoft.com/office/powerpoint/2010/main" val="4052673279"/>
      </p:ext>
    </p:extLst>
  </p:cSld>
  <p:clrMapOvr>
    <a:masterClrMapping/>
  </p:clrMapOvr>
  <p:transition>
    <p:fade/>
  </p:transition>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NEW">
    <p:bg>
      <p:bgPr>
        <a:solidFill>
          <a:schemeClr val="tx1"/>
        </a:solidFill>
        <a:effectLst/>
      </p:bgPr>
    </p:bg>
    <p:spTree>
      <p:nvGrpSpPr>
        <p:cNvPr id="1" name=""/>
        <p:cNvGrpSpPr/>
        <p:nvPr/>
      </p:nvGrpSpPr>
      <p:grpSpPr>
        <a:xfrm>
          <a:off x="0" y="0"/>
          <a:ext cx="0" cy="0"/>
          <a:chOff x="0" y="0"/>
          <a:chExt cx="0" cy="0"/>
        </a:xfrm>
      </p:grpSpPr>
      <p:sp>
        <p:nvSpPr>
          <p:cNvPr id="5" name="Content Placeholder 8">
            <a:extLst>
              <a:ext uri="{FF2B5EF4-FFF2-40B4-BE49-F238E27FC236}">
                <a16:creationId xmlns:a16="http://schemas.microsoft.com/office/drawing/2014/main" id="{7BE050B6-F278-8644-B933-08FF8783151B}"/>
              </a:ext>
            </a:extLst>
          </p:cNvPr>
          <p:cNvSpPr>
            <a:spLocks noGrp="1"/>
          </p:cNvSpPr>
          <p:nvPr>
            <p:ph sz="quarter" idx="11" hasCustomPrompt="1"/>
          </p:nvPr>
        </p:nvSpPr>
        <p:spPr>
          <a:xfrm>
            <a:off x="274638" y="1370022"/>
            <a:ext cx="11642723" cy="5233795"/>
          </a:xfrm>
        </p:spPr>
        <p:txBody>
          <a:bodyPr lIns="9144" bIns="0"/>
          <a:lstStyle>
            <a:lvl1pPr>
              <a:spcBef>
                <a:spcPts val="1200"/>
              </a:spcBef>
              <a:spcAft>
                <a:spcPts val="400"/>
              </a:spcAft>
              <a:defRPr sz="1800">
                <a:solidFill>
                  <a:schemeClr val="bg1"/>
                </a:solidFill>
              </a:defRPr>
            </a:lvl1pPr>
            <a:lvl2pPr>
              <a:spcAft>
                <a:spcPts val="400"/>
              </a:spcAft>
              <a:defRPr sz="1800">
                <a:solidFill>
                  <a:schemeClr val="bg1"/>
                </a:solidFill>
              </a:defRPr>
            </a:lvl2pPr>
            <a:lvl3pPr>
              <a:spcAft>
                <a:spcPts val="400"/>
              </a:spcAft>
              <a:defRPr sz="1800">
                <a:solidFill>
                  <a:schemeClr val="bg1"/>
                </a:solidFill>
              </a:defRPr>
            </a:lvl3pPr>
            <a:lvl4pPr>
              <a:spcAft>
                <a:spcPts val="400"/>
              </a:spcAft>
              <a:defRPr sz="1800">
                <a:solidFill>
                  <a:schemeClr val="bg1"/>
                </a:solidFill>
              </a:defRPr>
            </a:lvl4pPr>
            <a:lvl5pPr>
              <a:spcAft>
                <a:spcPts val="400"/>
              </a:spcAft>
              <a:defRPr sz="1800">
                <a:solidFill>
                  <a:schemeClr val="bg1"/>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6" name="Straight Connector 5">
            <a:extLst>
              <a:ext uri="{FF2B5EF4-FFF2-40B4-BE49-F238E27FC236}">
                <a16:creationId xmlns:a16="http://schemas.microsoft.com/office/drawing/2014/main" id="{D2087AFE-FF5C-8142-ACD9-5F5FAAD78E1B}"/>
              </a:ext>
            </a:extLst>
          </p:cNvPr>
          <p:cNvCxnSpPr/>
          <p:nvPr/>
        </p:nvCxnSpPr>
        <p:spPr>
          <a:xfrm>
            <a:off x="0" y="365760"/>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115F4446-5921-C54D-8A82-C927842323BC}"/>
              </a:ext>
            </a:extLst>
          </p:cNvPr>
          <p:cNvSpPr>
            <a:spLocks noGrp="1"/>
          </p:cNvSpPr>
          <p:nvPr>
            <p:ph type="sldNum" sz="quarter" idx="4"/>
          </p:nvPr>
        </p:nvSpPr>
        <p:spPr>
          <a:xfrm>
            <a:off x="274638" y="133411"/>
            <a:ext cx="211271" cy="120013"/>
          </a:xfrm>
          <a:prstGeom prst="rect">
            <a:avLst/>
          </a:prstGeom>
        </p:spPr>
        <p:txBody>
          <a:bodyPr vert="horz" lIns="0" tIns="0" rIns="0" bIns="0" rtlCol="0" anchor="ctr"/>
          <a:lstStyle>
            <a:lvl1pPr algn="l">
              <a:defRPr sz="500" b="1" i="0" spc="50" baseline="0">
                <a:solidFill>
                  <a:schemeClr val="bg1"/>
                </a:solidFill>
                <a:latin typeface="+mn-lt"/>
                <a:cs typeface="Arial" panose="020B0604020202020204" pitchFamily="34" charset="0"/>
              </a:defRPr>
            </a:lvl1pPr>
          </a:lstStyle>
          <a:p>
            <a:fld id="{4571BA12-316B-0A40-BB3D-1A8CDD33E9E5}" type="slidenum">
              <a:rPr lang="en-US" smtClean="0"/>
              <a:pPr/>
              <a:t>‹#›</a:t>
            </a:fld>
            <a:endParaRPr lang="en-US" dirty="0"/>
          </a:p>
        </p:txBody>
      </p:sp>
      <p:sp>
        <p:nvSpPr>
          <p:cNvPr id="8" name="SUHO LIMITED RELEASE…">
            <a:extLst>
              <a:ext uri="{FF2B5EF4-FFF2-40B4-BE49-F238E27FC236}">
                <a16:creationId xmlns:a16="http://schemas.microsoft.com/office/drawing/2014/main" id="{089ABED4-B2DF-B242-8E41-5AABF3122FDC}"/>
              </a:ext>
            </a:extLst>
          </p:cNvPr>
          <p:cNvSpPr txBox="1"/>
          <p:nvPr/>
        </p:nvSpPr>
        <p:spPr>
          <a:xfrm>
            <a:off x="6292066" y="141350"/>
            <a:ext cx="5625296" cy="915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chor="ctr">
            <a:spAutoFit/>
          </a:bodyPr>
          <a:lstStyle/>
          <a:p>
            <a:pPr algn="r">
              <a:lnSpc>
                <a:spcPts val="750"/>
              </a:lnSpc>
              <a:defRPr sz="1500" b="1" cap="all">
                <a:solidFill>
                  <a:srgbClr val="9F9F94"/>
                </a:solidFill>
              </a:defRPr>
            </a:pPr>
            <a:r>
              <a:rPr lang="en-US" sz="500" b="1" spc="50" baseline="0" dirty="0">
                <a:solidFill>
                  <a:schemeClr val="bg1"/>
                </a:solidFill>
                <a:latin typeface="+mn-lt"/>
                <a:ea typeface="Helvetica Neue" panose="02000503000000020004" pitchFamily="2" charset="0"/>
                <a:cs typeface="Arial" panose="020B0604020202020204" pitchFamily="34" charset="0"/>
              </a:rPr>
              <a:t>© 2022 Western Digital Corporation or its affiliates  All rights reserved</a:t>
            </a:r>
          </a:p>
        </p:txBody>
      </p:sp>
      <p:sp>
        <p:nvSpPr>
          <p:cNvPr id="9" name="SUHO LIMITED RELEASE…">
            <a:extLst>
              <a:ext uri="{FF2B5EF4-FFF2-40B4-BE49-F238E27FC236}">
                <a16:creationId xmlns:a16="http://schemas.microsoft.com/office/drawing/2014/main" id="{7AD33A5E-2435-AA40-9E59-38DFC78C649F}"/>
              </a:ext>
            </a:extLst>
          </p:cNvPr>
          <p:cNvSpPr txBox="1"/>
          <p:nvPr/>
        </p:nvSpPr>
        <p:spPr>
          <a:xfrm>
            <a:off x="542925" y="141286"/>
            <a:ext cx="1515387" cy="9156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chor="ctr">
            <a:spAutoFit/>
          </a:bodyPr>
          <a:lstStyle/>
          <a:p>
            <a:pPr algn="l">
              <a:lnSpc>
                <a:spcPts val="750"/>
              </a:lnSpc>
              <a:defRPr sz="1500" b="1" cap="all">
                <a:solidFill>
                  <a:srgbClr val="9F9F94"/>
                </a:solidFill>
              </a:defRPr>
            </a:pPr>
            <a:r>
              <a:rPr lang="en-US" sz="500" b="1" spc="50" baseline="0" dirty="0">
                <a:solidFill>
                  <a:schemeClr val="bg1"/>
                </a:solidFill>
                <a:latin typeface="+mn-lt"/>
                <a:ea typeface="Helvetica Neue" panose="02000503000000020004" pitchFamily="2" charset="0"/>
                <a:cs typeface="Arial" panose="020B0604020202020204" pitchFamily="34" charset="0"/>
              </a:rPr>
              <a:t>WESTERN DIGITAL CONFIDENTIAL</a:t>
            </a:r>
          </a:p>
        </p:txBody>
      </p:sp>
      <p:sp>
        <p:nvSpPr>
          <p:cNvPr id="15" name="Title 1">
            <a:extLst>
              <a:ext uri="{FF2B5EF4-FFF2-40B4-BE49-F238E27FC236}">
                <a16:creationId xmlns:a16="http://schemas.microsoft.com/office/drawing/2014/main" id="{0F0A7E89-32CE-FA6B-977E-6D28A3B4040E}"/>
              </a:ext>
            </a:extLst>
          </p:cNvPr>
          <p:cNvSpPr>
            <a:spLocks noGrp="1"/>
          </p:cNvSpPr>
          <p:nvPr>
            <p:ph type="title" hasCustomPrompt="1"/>
          </p:nvPr>
        </p:nvSpPr>
        <p:spPr>
          <a:xfrm>
            <a:off x="274638" y="427423"/>
            <a:ext cx="11647487" cy="671434"/>
          </a:xfrm>
        </p:spPr>
        <p:txBody>
          <a:bodyPr anchor="b"/>
          <a:lstStyle>
            <a:lvl1pPr algn="ctr">
              <a:defRPr lang="en-US" sz="4000" b="1" i="0" kern="1200" dirty="0">
                <a:gradFill>
                  <a:gsLst>
                    <a:gs pos="100000">
                      <a:schemeClr val="accent1"/>
                    </a:gs>
                    <a:gs pos="52000">
                      <a:schemeClr val="accent2"/>
                    </a:gs>
                    <a:gs pos="0">
                      <a:schemeClr val="accent3"/>
                    </a:gs>
                  </a:gsLst>
                  <a:lin ang="1800000" scaled="0"/>
                </a:gradFill>
                <a:latin typeface="+mn-lt"/>
                <a:ea typeface="+mn-ea"/>
                <a:cs typeface="+mn-cs"/>
              </a:defRPr>
            </a:lvl1pPr>
          </a:lstStyle>
          <a:p>
            <a:r>
              <a:rPr lang="en-US" dirty="0"/>
              <a:t>CLICK TO ADD TITLE</a:t>
            </a:r>
          </a:p>
        </p:txBody>
      </p:sp>
      <p:sp>
        <p:nvSpPr>
          <p:cNvPr id="11" name="object 3">
            <a:extLst>
              <a:ext uri="{FF2B5EF4-FFF2-40B4-BE49-F238E27FC236}">
                <a16:creationId xmlns:a16="http://schemas.microsoft.com/office/drawing/2014/main" id="{65D3E496-2361-19E7-B53D-35BF9CD6F1FC}"/>
              </a:ext>
            </a:extLst>
          </p:cNvPr>
          <p:cNvSpPr/>
          <p:nvPr userDrawn="1"/>
        </p:nvSpPr>
        <p:spPr>
          <a:xfrm>
            <a:off x="0" y="1234439"/>
            <a:ext cx="12192000" cy="0"/>
          </a:xfrm>
          <a:custGeom>
            <a:avLst/>
            <a:gdLst/>
            <a:ahLst/>
            <a:cxnLst/>
            <a:rect l="l" t="t" r="r" b="b"/>
            <a:pathLst>
              <a:path w="12192000">
                <a:moveTo>
                  <a:pt x="0" y="0"/>
                </a:moveTo>
                <a:lnTo>
                  <a:pt x="12192000" y="0"/>
                </a:lnTo>
              </a:path>
            </a:pathLst>
          </a:custGeom>
          <a:ln w="6350">
            <a:solidFill>
              <a:srgbClr val="F9F9F9"/>
            </a:solidFill>
          </a:ln>
        </p:spPr>
        <p:txBody>
          <a:bodyPr wrap="square" lIns="0" tIns="0" rIns="0" bIns="0" rtlCol="0"/>
          <a:lstStyle/>
          <a:p>
            <a:endParaRPr/>
          </a:p>
        </p:txBody>
      </p:sp>
    </p:spTree>
    <p:extLst>
      <p:ext uri="{BB962C8B-B14F-4D97-AF65-F5344CB8AC3E}">
        <p14:creationId xmlns:p14="http://schemas.microsoft.com/office/powerpoint/2010/main" val="2591879195"/>
      </p:ext>
    </p:extLst>
  </p:cSld>
  <p:clrMapOvr>
    <a:masterClrMapping/>
  </p:clrMapOvr>
  <p:transition>
    <p:fade/>
  </p:transition>
  <p:hf hdr="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 Subheader + Content">
    <p:bg>
      <p:bgPr>
        <a:solidFill>
          <a:schemeClr val="tx1"/>
        </a:solidFill>
        <a:effectLst/>
      </p:bgPr>
    </p:bg>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D2087AFE-FF5C-8142-ACD9-5F5FAAD78E1B}"/>
              </a:ext>
            </a:extLst>
          </p:cNvPr>
          <p:cNvCxnSpPr/>
          <p:nvPr/>
        </p:nvCxnSpPr>
        <p:spPr>
          <a:xfrm>
            <a:off x="0" y="365760"/>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115F4446-5921-C54D-8A82-C927842323BC}"/>
              </a:ext>
            </a:extLst>
          </p:cNvPr>
          <p:cNvSpPr>
            <a:spLocks noGrp="1"/>
          </p:cNvSpPr>
          <p:nvPr>
            <p:ph type="sldNum" sz="quarter" idx="4"/>
          </p:nvPr>
        </p:nvSpPr>
        <p:spPr>
          <a:xfrm>
            <a:off x="274638" y="133411"/>
            <a:ext cx="211271" cy="120013"/>
          </a:xfrm>
          <a:prstGeom prst="rect">
            <a:avLst/>
          </a:prstGeom>
        </p:spPr>
        <p:txBody>
          <a:bodyPr vert="horz" lIns="0" tIns="0" rIns="0" bIns="0" rtlCol="0" anchor="ctr"/>
          <a:lstStyle>
            <a:lvl1pPr algn="l">
              <a:defRPr sz="500" b="1" i="0" spc="50" baseline="0">
                <a:solidFill>
                  <a:schemeClr val="bg1"/>
                </a:solidFill>
                <a:latin typeface="+mn-lt"/>
                <a:cs typeface="Arial" panose="020B0604020202020204" pitchFamily="34" charset="0"/>
              </a:defRPr>
            </a:lvl1pPr>
          </a:lstStyle>
          <a:p>
            <a:fld id="{4571BA12-316B-0A40-BB3D-1A8CDD33E9E5}" type="slidenum">
              <a:rPr lang="en-US" smtClean="0"/>
              <a:pPr/>
              <a:t>‹#›</a:t>
            </a:fld>
            <a:endParaRPr lang="en-US" dirty="0"/>
          </a:p>
        </p:txBody>
      </p:sp>
      <p:sp>
        <p:nvSpPr>
          <p:cNvPr id="8" name="SUHO LIMITED RELEASE…">
            <a:extLst>
              <a:ext uri="{FF2B5EF4-FFF2-40B4-BE49-F238E27FC236}">
                <a16:creationId xmlns:a16="http://schemas.microsoft.com/office/drawing/2014/main" id="{089ABED4-B2DF-B242-8E41-5AABF3122FDC}"/>
              </a:ext>
            </a:extLst>
          </p:cNvPr>
          <p:cNvSpPr txBox="1"/>
          <p:nvPr/>
        </p:nvSpPr>
        <p:spPr>
          <a:xfrm>
            <a:off x="6292066" y="141350"/>
            <a:ext cx="5625296" cy="9150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ctr">
            <a:spAutoFit/>
          </a:bodyPr>
          <a:lstStyle/>
          <a:p>
            <a:pPr algn="r">
              <a:lnSpc>
                <a:spcPts val="750"/>
              </a:lnSpc>
              <a:defRPr sz="1500" b="1" cap="all">
                <a:solidFill>
                  <a:srgbClr val="9F9F94"/>
                </a:solidFill>
              </a:defRPr>
            </a:pPr>
            <a:r>
              <a:rPr lang="en-US" sz="500" b="1" spc="50" baseline="0" dirty="0">
                <a:solidFill>
                  <a:schemeClr val="bg1"/>
                </a:solidFill>
                <a:latin typeface="+mn-lt"/>
                <a:ea typeface="Helvetica Neue" panose="02000503000000020004" pitchFamily="2" charset="0"/>
                <a:cs typeface="Arial" panose="020B0604020202020204" pitchFamily="34" charset="0"/>
              </a:rPr>
              <a:t>© 2022 Western Digital Corporation or its affiliates  All rights reserved</a:t>
            </a:r>
          </a:p>
        </p:txBody>
      </p:sp>
      <p:sp>
        <p:nvSpPr>
          <p:cNvPr id="9" name="SUHO LIMITED RELEASE…">
            <a:extLst>
              <a:ext uri="{FF2B5EF4-FFF2-40B4-BE49-F238E27FC236}">
                <a16:creationId xmlns:a16="http://schemas.microsoft.com/office/drawing/2014/main" id="{7AD33A5E-2435-AA40-9E59-38DFC78C649F}"/>
              </a:ext>
            </a:extLst>
          </p:cNvPr>
          <p:cNvSpPr txBox="1"/>
          <p:nvPr/>
        </p:nvSpPr>
        <p:spPr>
          <a:xfrm>
            <a:off x="542925" y="141286"/>
            <a:ext cx="1515387" cy="9156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ctr">
            <a:spAutoFit/>
          </a:bodyPr>
          <a:lstStyle/>
          <a:p>
            <a:pPr algn="l">
              <a:lnSpc>
                <a:spcPts val="750"/>
              </a:lnSpc>
              <a:defRPr sz="1500" b="1" cap="all">
                <a:solidFill>
                  <a:srgbClr val="9F9F94"/>
                </a:solidFill>
              </a:defRPr>
            </a:pPr>
            <a:r>
              <a:rPr lang="en-US" sz="500" b="1" spc="50" baseline="0" dirty="0">
                <a:solidFill>
                  <a:schemeClr val="bg1"/>
                </a:solidFill>
                <a:latin typeface="+mn-lt"/>
                <a:ea typeface="Helvetica Neue" panose="02000503000000020004" pitchFamily="2" charset="0"/>
                <a:cs typeface="Arial" panose="020B0604020202020204" pitchFamily="34" charset="0"/>
              </a:rPr>
              <a:t>WESTERN DIGITAL CONFIDENTIAL</a:t>
            </a:r>
          </a:p>
        </p:txBody>
      </p:sp>
      <p:sp>
        <p:nvSpPr>
          <p:cNvPr id="12" name="Title 1">
            <a:extLst>
              <a:ext uri="{FF2B5EF4-FFF2-40B4-BE49-F238E27FC236}">
                <a16:creationId xmlns:a16="http://schemas.microsoft.com/office/drawing/2014/main" id="{46BA31BB-889E-0B6D-CF28-0906A6A42274}"/>
              </a:ext>
            </a:extLst>
          </p:cNvPr>
          <p:cNvSpPr>
            <a:spLocks noGrp="1"/>
          </p:cNvSpPr>
          <p:nvPr>
            <p:ph type="title" hasCustomPrompt="1"/>
          </p:nvPr>
        </p:nvSpPr>
        <p:spPr>
          <a:xfrm>
            <a:off x="274638" y="427423"/>
            <a:ext cx="11647487" cy="671434"/>
          </a:xfrm>
        </p:spPr>
        <p:txBody>
          <a:bodyPr anchor="b"/>
          <a:lstStyle>
            <a:lvl1pPr algn="ctr">
              <a:defRPr lang="en-US" sz="4000" b="1" i="0" kern="1200" dirty="0">
                <a:gradFill>
                  <a:gsLst>
                    <a:gs pos="100000">
                      <a:schemeClr val="accent1"/>
                    </a:gs>
                    <a:gs pos="52000">
                      <a:schemeClr val="accent2"/>
                    </a:gs>
                    <a:gs pos="0">
                      <a:schemeClr val="accent3"/>
                    </a:gs>
                  </a:gsLst>
                  <a:lin ang="1800000" scaled="0"/>
                </a:gradFill>
                <a:latin typeface="+mn-lt"/>
                <a:ea typeface="+mn-ea"/>
                <a:cs typeface="+mn-cs"/>
              </a:defRPr>
            </a:lvl1pPr>
          </a:lstStyle>
          <a:p>
            <a:r>
              <a:rPr lang="en-US" dirty="0"/>
              <a:t>CLICK TO ADD TITLE</a:t>
            </a:r>
          </a:p>
        </p:txBody>
      </p:sp>
      <p:sp>
        <p:nvSpPr>
          <p:cNvPr id="13" name="object 3">
            <a:extLst>
              <a:ext uri="{FF2B5EF4-FFF2-40B4-BE49-F238E27FC236}">
                <a16:creationId xmlns:a16="http://schemas.microsoft.com/office/drawing/2014/main" id="{9CCBCBD6-03C4-90A3-850A-801664CB6083}"/>
              </a:ext>
            </a:extLst>
          </p:cNvPr>
          <p:cNvSpPr/>
          <p:nvPr userDrawn="1"/>
        </p:nvSpPr>
        <p:spPr>
          <a:xfrm>
            <a:off x="0" y="1234439"/>
            <a:ext cx="12192000" cy="0"/>
          </a:xfrm>
          <a:custGeom>
            <a:avLst/>
            <a:gdLst/>
            <a:ahLst/>
            <a:cxnLst/>
            <a:rect l="l" t="t" r="r" b="b"/>
            <a:pathLst>
              <a:path w="12192000">
                <a:moveTo>
                  <a:pt x="0" y="0"/>
                </a:moveTo>
                <a:lnTo>
                  <a:pt x="12192000" y="0"/>
                </a:lnTo>
              </a:path>
            </a:pathLst>
          </a:custGeom>
          <a:ln w="6350">
            <a:solidFill>
              <a:srgbClr val="F9F9F9"/>
            </a:solidFill>
          </a:ln>
        </p:spPr>
        <p:txBody>
          <a:bodyPr wrap="square" lIns="0" tIns="0" rIns="0" bIns="0" rtlCol="0"/>
          <a:lstStyle/>
          <a:p>
            <a:endParaRPr/>
          </a:p>
        </p:txBody>
      </p:sp>
    </p:spTree>
    <p:extLst>
      <p:ext uri="{BB962C8B-B14F-4D97-AF65-F5344CB8AC3E}">
        <p14:creationId xmlns:p14="http://schemas.microsoft.com/office/powerpoint/2010/main" val="2283435058"/>
      </p:ext>
    </p:extLst>
  </p:cSld>
  <p:clrMapOvr>
    <a:masterClrMapping/>
  </p:clrMapOvr>
  <p:transition>
    <p:fade/>
  </p:transition>
  <p:hf hdr="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lumns (Black)">
    <p:bg>
      <p:bgPr>
        <a:solidFill>
          <a:schemeClr val="tx1"/>
        </a:solidFill>
        <a:effectLst/>
      </p:bgPr>
    </p:bg>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D2087AFE-FF5C-8142-ACD9-5F5FAAD78E1B}"/>
              </a:ext>
            </a:extLst>
          </p:cNvPr>
          <p:cNvCxnSpPr/>
          <p:nvPr/>
        </p:nvCxnSpPr>
        <p:spPr>
          <a:xfrm>
            <a:off x="0" y="365760"/>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115F4446-5921-C54D-8A82-C927842323BC}"/>
              </a:ext>
            </a:extLst>
          </p:cNvPr>
          <p:cNvSpPr>
            <a:spLocks noGrp="1"/>
          </p:cNvSpPr>
          <p:nvPr>
            <p:ph type="sldNum" sz="quarter" idx="4"/>
          </p:nvPr>
        </p:nvSpPr>
        <p:spPr>
          <a:xfrm>
            <a:off x="274638" y="133411"/>
            <a:ext cx="211271" cy="120013"/>
          </a:xfrm>
          <a:prstGeom prst="rect">
            <a:avLst/>
          </a:prstGeom>
        </p:spPr>
        <p:txBody>
          <a:bodyPr vert="horz" lIns="0" tIns="0" rIns="0" bIns="0" rtlCol="0" anchor="ctr"/>
          <a:lstStyle>
            <a:lvl1pPr algn="l">
              <a:defRPr sz="500" b="1" i="0" spc="50" baseline="0">
                <a:solidFill>
                  <a:schemeClr val="bg1"/>
                </a:solidFill>
                <a:latin typeface="+mn-lt"/>
                <a:cs typeface="Arial" panose="020B0604020202020204" pitchFamily="34" charset="0"/>
              </a:defRPr>
            </a:lvl1pPr>
          </a:lstStyle>
          <a:p>
            <a:fld id="{4571BA12-316B-0A40-BB3D-1A8CDD33E9E5}" type="slidenum">
              <a:rPr lang="en-US" smtClean="0"/>
              <a:pPr/>
              <a:t>‹#›</a:t>
            </a:fld>
            <a:endParaRPr lang="en-US" dirty="0"/>
          </a:p>
        </p:txBody>
      </p:sp>
      <p:sp>
        <p:nvSpPr>
          <p:cNvPr id="8" name="SUHO LIMITED RELEASE…">
            <a:extLst>
              <a:ext uri="{FF2B5EF4-FFF2-40B4-BE49-F238E27FC236}">
                <a16:creationId xmlns:a16="http://schemas.microsoft.com/office/drawing/2014/main" id="{089ABED4-B2DF-B242-8E41-5AABF3122FDC}"/>
              </a:ext>
            </a:extLst>
          </p:cNvPr>
          <p:cNvSpPr txBox="1"/>
          <p:nvPr/>
        </p:nvSpPr>
        <p:spPr>
          <a:xfrm>
            <a:off x="6292066" y="141350"/>
            <a:ext cx="5625296" cy="915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chor="ctr">
            <a:spAutoFit/>
          </a:bodyPr>
          <a:lstStyle/>
          <a:p>
            <a:pPr algn="r">
              <a:lnSpc>
                <a:spcPts val="750"/>
              </a:lnSpc>
              <a:defRPr sz="1500" b="1" cap="all">
                <a:solidFill>
                  <a:srgbClr val="9F9F94"/>
                </a:solidFill>
              </a:defRPr>
            </a:pPr>
            <a:r>
              <a:rPr lang="en-US" sz="500" b="1" spc="50" baseline="0" dirty="0">
                <a:solidFill>
                  <a:schemeClr val="bg1"/>
                </a:solidFill>
                <a:latin typeface="+mn-lt"/>
                <a:ea typeface="Helvetica Neue" panose="02000503000000020004" pitchFamily="2" charset="0"/>
                <a:cs typeface="Arial" panose="020B0604020202020204" pitchFamily="34" charset="0"/>
              </a:rPr>
              <a:t>© 2022 Western Digital Corporation or its affiliates  All rights reserved</a:t>
            </a:r>
          </a:p>
        </p:txBody>
      </p:sp>
      <p:sp>
        <p:nvSpPr>
          <p:cNvPr id="9" name="SUHO LIMITED RELEASE…">
            <a:extLst>
              <a:ext uri="{FF2B5EF4-FFF2-40B4-BE49-F238E27FC236}">
                <a16:creationId xmlns:a16="http://schemas.microsoft.com/office/drawing/2014/main" id="{7AD33A5E-2435-AA40-9E59-38DFC78C649F}"/>
              </a:ext>
            </a:extLst>
          </p:cNvPr>
          <p:cNvSpPr txBox="1"/>
          <p:nvPr/>
        </p:nvSpPr>
        <p:spPr>
          <a:xfrm>
            <a:off x="542925" y="141286"/>
            <a:ext cx="1515387" cy="9156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chor="ctr">
            <a:spAutoFit/>
          </a:bodyPr>
          <a:lstStyle/>
          <a:p>
            <a:pPr algn="l">
              <a:lnSpc>
                <a:spcPts val="750"/>
              </a:lnSpc>
              <a:defRPr sz="1500" b="1" cap="all">
                <a:solidFill>
                  <a:srgbClr val="9F9F94"/>
                </a:solidFill>
              </a:defRPr>
            </a:pPr>
            <a:r>
              <a:rPr lang="en-US" sz="500" b="1" spc="50" baseline="0" dirty="0">
                <a:solidFill>
                  <a:schemeClr val="bg1"/>
                </a:solidFill>
                <a:latin typeface="+mn-lt"/>
                <a:ea typeface="Helvetica Neue" panose="02000503000000020004" pitchFamily="2" charset="0"/>
                <a:cs typeface="Arial" panose="020B0604020202020204" pitchFamily="34" charset="0"/>
              </a:rPr>
              <a:t>WESTERN DIGITAL CONFIDENTIAL</a:t>
            </a:r>
          </a:p>
        </p:txBody>
      </p:sp>
      <p:sp>
        <p:nvSpPr>
          <p:cNvPr id="11" name="Title 1">
            <a:extLst>
              <a:ext uri="{FF2B5EF4-FFF2-40B4-BE49-F238E27FC236}">
                <a16:creationId xmlns:a16="http://schemas.microsoft.com/office/drawing/2014/main" id="{5ABF41C0-73C1-19D0-ACFB-59F9FDC39FCD}"/>
              </a:ext>
            </a:extLst>
          </p:cNvPr>
          <p:cNvSpPr>
            <a:spLocks noGrp="1"/>
          </p:cNvSpPr>
          <p:nvPr>
            <p:ph type="title" hasCustomPrompt="1"/>
          </p:nvPr>
        </p:nvSpPr>
        <p:spPr>
          <a:xfrm>
            <a:off x="274638" y="478097"/>
            <a:ext cx="11647487" cy="671434"/>
          </a:xfrm>
        </p:spPr>
        <p:txBody>
          <a:bodyPr anchor="b"/>
          <a:lstStyle>
            <a:lvl1pPr algn="ctr">
              <a:defRPr sz="4000" b="1">
                <a:solidFill>
                  <a:schemeClr val="bg1"/>
                </a:solidFill>
                <a:latin typeface="+mj-lt"/>
              </a:defRPr>
            </a:lvl1pPr>
          </a:lstStyle>
          <a:p>
            <a:r>
              <a:rPr lang="en-US" dirty="0"/>
              <a:t>CLICK TO ADD TITLE</a:t>
            </a:r>
          </a:p>
        </p:txBody>
      </p:sp>
      <p:cxnSp>
        <p:nvCxnSpPr>
          <p:cNvPr id="16" name="Straight Connector 15">
            <a:extLst>
              <a:ext uri="{FF2B5EF4-FFF2-40B4-BE49-F238E27FC236}">
                <a16:creationId xmlns:a16="http://schemas.microsoft.com/office/drawing/2014/main" id="{EB540C2C-E387-E280-05FB-1AF906C1A764}"/>
              </a:ext>
            </a:extLst>
          </p:cNvPr>
          <p:cNvCxnSpPr/>
          <p:nvPr userDrawn="1"/>
        </p:nvCxnSpPr>
        <p:spPr>
          <a:xfrm>
            <a:off x="0" y="129322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Content Placeholder 8">
            <a:extLst>
              <a:ext uri="{FF2B5EF4-FFF2-40B4-BE49-F238E27FC236}">
                <a16:creationId xmlns:a16="http://schemas.microsoft.com/office/drawing/2014/main" id="{14F4FC0B-633B-DE3B-E848-D9A021BCAC85}"/>
              </a:ext>
            </a:extLst>
          </p:cNvPr>
          <p:cNvSpPr>
            <a:spLocks noGrp="1"/>
          </p:cNvSpPr>
          <p:nvPr>
            <p:ph sz="quarter" idx="11" hasCustomPrompt="1"/>
          </p:nvPr>
        </p:nvSpPr>
        <p:spPr>
          <a:xfrm>
            <a:off x="274639" y="2553585"/>
            <a:ext cx="5550108" cy="4050228"/>
          </a:xfrm>
        </p:spPr>
        <p:txBody>
          <a:bodyPr lIns="9144" bIns="0"/>
          <a:lstStyle>
            <a:lvl1pPr marL="285750" indent="-285750" algn="l">
              <a:spcBef>
                <a:spcPts val="1200"/>
              </a:spcBef>
              <a:spcAft>
                <a:spcPts val="400"/>
              </a:spcAft>
              <a:buFont typeface="Arial" panose="020B0604020202020204" pitchFamily="34" charset="0"/>
              <a:buChar char="•"/>
              <a:defRPr sz="1800">
                <a:solidFill>
                  <a:schemeClr val="bg1"/>
                </a:solidFill>
              </a:defRPr>
            </a:lvl1pPr>
            <a:lvl2pPr marL="560070" indent="-285750" algn="l">
              <a:spcAft>
                <a:spcPts val="400"/>
              </a:spcAft>
              <a:buFont typeface="Arial" panose="020B0604020202020204" pitchFamily="34" charset="0"/>
              <a:buChar char="•"/>
              <a:defRPr sz="1800">
                <a:solidFill>
                  <a:schemeClr val="bg1"/>
                </a:solidFill>
              </a:defRPr>
            </a:lvl2pPr>
            <a:lvl3pPr marL="834390" indent="-285750" algn="l">
              <a:spcAft>
                <a:spcPts val="400"/>
              </a:spcAft>
              <a:buFont typeface="Arial" panose="020B0604020202020204" pitchFamily="34" charset="0"/>
              <a:buChar char="•"/>
              <a:defRPr sz="1800">
                <a:solidFill>
                  <a:schemeClr val="bg1"/>
                </a:solidFill>
              </a:defRPr>
            </a:lvl3pPr>
            <a:lvl4pPr marL="1108710" indent="-285750" algn="l">
              <a:spcAft>
                <a:spcPts val="400"/>
              </a:spcAft>
              <a:buFont typeface="Arial" panose="020B0604020202020204" pitchFamily="34" charset="0"/>
              <a:buChar char="•"/>
              <a:defRPr sz="1800">
                <a:solidFill>
                  <a:schemeClr val="bg1"/>
                </a:solidFill>
              </a:defRPr>
            </a:lvl4pPr>
            <a:lvl5pPr marL="1383030" indent="-285750" algn="l">
              <a:spcAft>
                <a:spcPts val="400"/>
              </a:spcAft>
              <a:buFont typeface="Arial" panose="020B0604020202020204" pitchFamily="34" charset="0"/>
              <a:buChar char="•"/>
              <a:defRPr sz="1800">
                <a:solidFill>
                  <a:schemeClr val="bg1"/>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Content Placeholder 8">
            <a:extLst>
              <a:ext uri="{FF2B5EF4-FFF2-40B4-BE49-F238E27FC236}">
                <a16:creationId xmlns:a16="http://schemas.microsoft.com/office/drawing/2014/main" id="{496C838D-0BE9-CE95-9CA2-52544AD9C1BB}"/>
              </a:ext>
            </a:extLst>
          </p:cNvPr>
          <p:cNvSpPr>
            <a:spLocks noGrp="1"/>
          </p:cNvSpPr>
          <p:nvPr>
            <p:ph sz="quarter" idx="13" hasCustomPrompt="1"/>
          </p:nvPr>
        </p:nvSpPr>
        <p:spPr>
          <a:xfrm>
            <a:off x="6367251" y="2553584"/>
            <a:ext cx="5550110" cy="4050229"/>
          </a:xfrm>
        </p:spPr>
        <p:txBody>
          <a:bodyPr lIns="9144" bIns="0"/>
          <a:lstStyle>
            <a:lvl1pPr marL="285750" indent="-285750" algn="l">
              <a:spcBef>
                <a:spcPts val="1200"/>
              </a:spcBef>
              <a:spcAft>
                <a:spcPts val="400"/>
              </a:spcAft>
              <a:buFont typeface="Arial" panose="020B0604020202020204" pitchFamily="34" charset="0"/>
              <a:buChar char="•"/>
              <a:defRPr sz="1800">
                <a:solidFill>
                  <a:schemeClr val="bg1"/>
                </a:solidFill>
              </a:defRPr>
            </a:lvl1pPr>
            <a:lvl2pPr marL="560070" indent="-285750" algn="l">
              <a:spcAft>
                <a:spcPts val="400"/>
              </a:spcAft>
              <a:buFont typeface="Arial" panose="020B0604020202020204" pitchFamily="34" charset="0"/>
              <a:buChar char="•"/>
              <a:defRPr sz="1800">
                <a:solidFill>
                  <a:schemeClr val="bg1"/>
                </a:solidFill>
              </a:defRPr>
            </a:lvl2pPr>
            <a:lvl3pPr marL="834390" indent="-285750" algn="l">
              <a:spcAft>
                <a:spcPts val="400"/>
              </a:spcAft>
              <a:buFont typeface="Arial" panose="020B0604020202020204" pitchFamily="34" charset="0"/>
              <a:buChar char="•"/>
              <a:defRPr sz="1800">
                <a:solidFill>
                  <a:schemeClr val="bg1"/>
                </a:solidFill>
              </a:defRPr>
            </a:lvl3pPr>
            <a:lvl4pPr marL="1108710" indent="-285750" algn="l">
              <a:spcAft>
                <a:spcPts val="400"/>
              </a:spcAft>
              <a:buFont typeface="Arial" panose="020B0604020202020204" pitchFamily="34" charset="0"/>
              <a:buChar char="•"/>
              <a:defRPr sz="1800">
                <a:solidFill>
                  <a:schemeClr val="bg1"/>
                </a:solidFill>
              </a:defRPr>
            </a:lvl4pPr>
            <a:lvl5pPr marL="1383030" indent="-285750" algn="l">
              <a:spcAft>
                <a:spcPts val="400"/>
              </a:spcAft>
              <a:buFont typeface="Arial" panose="020B0604020202020204" pitchFamily="34" charset="0"/>
              <a:buChar char="•"/>
              <a:defRPr sz="1800">
                <a:solidFill>
                  <a:schemeClr val="bg1"/>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a:extLst>
              <a:ext uri="{FF2B5EF4-FFF2-40B4-BE49-F238E27FC236}">
                <a16:creationId xmlns:a16="http://schemas.microsoft.com/office/drawing/2014/main" id="{5120A6E0-3C19-B22B-5BE6-B8D0EE0ED5B4}"/>
              </a:ext>
            </a:extLst>
          </p:cNvPr>
          <p:cNvSpPr>
            <a:spLocks noGrp="1"/>
          </p:cNvSpPr>
          <p:nvPr>
            <p:ph type="body" sz="quarter" idx="15" hasCustomPrompt="1"/>
          </p:nvPr>
        </p:nvSpPr>
        <p:spPr>
          <a:xfrm>
            <a:off x="274637" y="1437302"/>
            <a:ext cx="5550405" cy="1060471"/>
          </a:xfrm>
        </p:spPr>
        <p:txBody>
          <a:bodyPr anchor="t"/>
          <a:lstStyle>
            <a:lvl1pPr marL="0" indent="0" algn="ctr">
              <a:buFont typeface="Arial" panose="020B0604020202020204" pitchFamily="34" charset="0"/>
              <a:buNone/>
              <a:defRPr sz="3200" b="1">
                <a:gradFill>
                  <a:gsLst>
                    <a:gs pos="100000">
                      <a:schemeClr val="accent1"/>
                    </a:gs>
                    <a:gs pos="52000">
                      <a:schemeClr val="accent2"/>
                    </a:gs>
                    <a:gs pos="0">
                      <a:schemeClr val="accent3"/>
                    </a:gs>
                  </a:gsLst>
                  <a:lin ang="1800000" scaled="0"/>
                </a:gra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a:t>
            </a:r>
            <a:br>
              <a:rPr lang="en-US" dirty="0"/>
            </a:br>
            <a:r>
              <a:rPr lang="en-US" dirty="0"/>
              <a:t>Section Title</a:t>
            </a:r>
          </a:p>
        </p:txBody>
      </p:sp>
      <p:sp>
        <p:nvSpPr>
          <p:cNvPr id="22" name="Text Placeholder 18">
            <a:extLst>
              <a:ext uri="{FF2B5EF4-FFF2-40B4-BE49-F238E27FC236}">
                <a16:creationId xmlns:a16="http://schemas.microsoft.com/office/drawing/2014/main" id="{3F12A4E5-53DE-1161-B22D-CD6FD6BF9282}"/>
              </a:ext>
            </a:extLst>
          </p:cNvPr>
          <p:cNvSpPr>
            <a:spLocks noGrp="1"/>
          </p:cNvSpPr>
          <p:nvPr>
            <p:ph type="body" sz="quarter" idx="16" hasCustomPrompt="1"/>
          </p:nvPr>
        </p:nvSpPr>
        <p:spPr>
          <a:xfrm>
            <a:off x="6373816" y="1437302"/>
            <a:ext cx="5543545" cy="1060471"/>
          </a:xfrm>
        </p:spPr>
        <p:txBody>
          <a:bodyPr anchor="t"/>
          <a:lstStyle>
            <a:lvl1pPr marL="0" indent="0" algn="ctr">
              <a:buFont typeface="Arial" panose="020B0604020202020204" pitchFamily="34" charset="0"/>
              <a:buNone/>
              <a:defRPr sz="3200" b="1">
                <a:gradFill>
                  <a:gsLst>
                    <a:gs pos="100000">
                      <a:schemeClr val="accent1"/>
                    </a:gs>
                    <a:gs pos="52000">
                      <a:schemeClr val="accent2"/>
                    </a:gs>
                    <a:gs pos="0">
                      <a:schemeClr val="accent3"/>
                    </a:gs>
                  </a:gsLst>
                  <a:lin ang="1800000" scaled="0"/>
                </a:gra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a:t>
            </a:r>
            <a:br>
              <a:rPr lang="en-US" dirty="0"/>
            </a:br>
            <a:r>
              <a:rPr lang="en-US" dirty="0"/>
              <a:t>Section Title</a:t>
            </a:r>
          </a:p>
        </p:txBody>
      </p:sp>
      <p:cxnSp>
        <p:nvCxnSpPr>
          <p:cNvPr id="23" name="Straight Connector 22">
            <a:extLst>
              <a:ext uri="{FF2B5EF4-FFF2-40B4-BE49-F238E27FC236}">
                <a16:creationId xmlns:a16="http://schemas.microsoft.com/office/drawing/2014/main" id="{D7ACE484-3797-DF47-110E-F3E478E2DFE1}"/>
              </a:ext>
            </a:extLst>
          </p:cNvPr>
          <p:cNvCxnSpPr>
            <a:cxnSpLocks/>
          </p:cNvCxnSpPr>
          <p:nvPr userDrawn="1"/>
        </p:nvCxnSpPr>
        <p:spPr>
          <a:xfrm>
            <a:off x="6096000" y="1293223"/>
            <a:ext cx="0" cy="556731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55051645"/>
      </p:ext>
    </p:extLst>
  </p:cSld>
  <p:clrMapOvr>
    <a:masterClrMapping/>
  </p:clrMapOvr>
  <p:transition>
    <p:fade/>
  </p:transition>
  <p:hf hdr="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 Columns (Black)">
    <p:bg>
      <p:bgPr>
        <a:solidFill>
          <a:schemeClr val="tx1"/>
        </a:solidFill>
        <a:effectLst/>
      </p:bgPr>
    </p:bg>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D2087AFE-FF5C-8142-ACD9-5F5FAAD78E1B}"/>
              </a:ext>
            </a:extLst>
          </p:cNvPr>
          <p:cNvCxnSpPr/>
          <p:nvPr/>
        </p:nvCxnSpPr>
        <p:spPr>
          <a:xfrm>
            <a:off x="0" y="365760"/>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115F4446-5921-C54D-8A82-C927842323BC}"/>
              </a:ext>
            </a:extLst>
          </p:cNvPr>
          <p:cNvSpPr>
            <a:spLocks noGrp="1"/>
          </p:cNvSpPr>
          <p:nvPr>
            <p:ph type="sldNum" sz="quarter" idx="4"/>
          </p:nvPr>
        </p:nvSpPr>
        <p:spPr>
          <a:xfrm>
            <a:off x="274638" y="133411"/>
            <a:ext cx="211271" cy="120013"/>
          </a:xfrm>
          <a:prstGeom prst="rect">
            <a:avLst/>
          </a:prstGeom>
        </p:spPr>
        <p:txBody>
          <a:bodyPr vert="horz" lIns="0" tIns="0" rIns="0" bIns="0" rtlCol="0" anchor="ctr"/>
          <a:lstStyle>
            <a:lvl1pPr algn="l">
              <a:defRPr sz="500" b="1" i="0" spc="50" baseline="0">
                <a:solidFill>
                  <a:schemeClr val="bg1"/>
                </a:solidFill>
                <a:latin typeface="+mn-lt"/>
                <a:cs typeface="Arial" panose="020B0604020202020204" pitchFamily="34" charset="0"/>
              </a:defRPr>
            </a:lvl1pPr>
          </a:lstStyle>
          <a:p>
            <a:fld id="{4571BA12-316B-0A40-BB3D-1A8CDD33E9E5}" type="slidenum">
              <a:rPr lang="en-US" smtClean="0"/>
              <a:pPr/>
              <a:t>‹#›</a:t>
            </a:fld>
            <a:endParaRPr lang="en-US" dirty="0"/>
          </a:p>
        </p:txBody>
      </p:sp>
      <p:sp>
        <p:nvSpPr>
          <p:cNvPr id="8" name="SUHO LIMITED RELEASE…">
            <a:extLst>
              <a:ext uri="{FF2B5EF4-FFF2-40B4-BE49-F238E27FC236}">
                <a16:creationId xmlns:a16="http://schemas.microsoft.com/office/drawing/2014/main" id="{089ABED4-B2DF-B242-8E41-5AABF3122FDC}"/>
              </a:ext>
            </a:extLst>
          </p:cNvPr>
          <p:cNvSpPr txBox="1"/>
          <p:nvPr/>
        </p:nvSpPr>
        <p:spPr>
          <a:xfrm>
            <a:off x="6292066" y="141350"/>
            <a:ext cx="5625296" cy="915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chor="ctr">
            <a:spAutoFit/>
          </a:bodyPr>
          <a:lstStyle/>
          <a:p>
            <a:pPr algn="r">
              <a:lnSpc>
                <a:spcPts val="750"/>
              </a:lnSpc>
              <a:defRPr sz="1500" b="1" cap="all">
                <a:solidFill>
                  <a:srgbClr val="9F9F94"/>
                </a:solidFill>
              </a:defRPr>
            </a:pPr>
            <a:r>
              <a:rPr lang="en-US" sz="500" b="1" spc="50" baseline="0" dirty="0">
                <a:solidFill>
                  <a:schemeClr val="bg1"/>
                </a:solidFill>
                <a:latin typeface="+mn-lt"/>
                <a:ea typeface="Helvetica Neue" panose="02000503000000020004" pitchFamily="2" charset="0"/>
                <a:cs typeface="Arial" panose="020B0604020202020204" pitchFamily="34" charset="0"/>
              </a:rPr>
              <a:t>© 2022 Western Digital Corporation or its affiliates  All rights reserved</a:t>
            </a:r>
          </a:p>
        </p:txBody>
      </p:sp>
      <p:sp>
        <p:nvSpPr>
          <p:cNvPr id="9" name="SUHO LIMITED RELEASE…">
            <a:extLst>
              <a:ext uri="{FF2B5EF4-FFF2-40B4-BE49-F238E27FC236}">
                <a16:creationId xmlns:a16="http://schemas.microsoft.com/office/drawing/2014/main" id="{7AD33A5E-2435-AA40-9E59-38DFC78C649F}"/>
              </a:ext>
            </a:extLst>
          </p:cNvPr>
          <p:cNvSpPr txBox="1"/>
          <p:nvPr/>
        </p:nvSpPr>
        <p:spPr>
          <a:xfrm>
            <a:off x="542925" y="141286"/>
            <a:ext cx="1515387" cy="9156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chor="ctr">
            <a:spAutoFit/>
          </a:bodyPr>
          <a:lstStyle/>
          <a:p>
            <a:pPr algn="l">
              <a:lnSpc>
                <a:spcPts val="750"/>
              </a:lnSpc>
              <a:defRPr sz="1500" b="1" cap="all">
                <a:solidFill>
                  <a:srgbClr val="9F9F94"/>
                </a:solidFill>
              </a:defRPr>
            </a:pPr>
            <a:r>
              <a:rPr lang="en-US" sz="500" b="1" spc="50" baseline="0" dirty="0">
                <a:solidFill>
                  <a:schemeClr val="bg1"/>
                </a:solidFill>
                <a:latin typeface="+mn-lt"/>
                <a:ea typeface="Helvetica Neue" panose="02000503000000020004" pitchFamily="2" charset="0"/>
                <a:cs typeface="Arial" panose="020B0604020202020204" pitchFamily="34" charset="0"/>
              </a:rPr>
              <a:t>WESTERN DIGITAL CONFIDENTIAL</a:t>
            </a:r>
          </a:p>
        </p:txBody>
      </p:sp>
      <p:sp>
        <p:nvSpPr>
          <p:cNvPr id="11" name="Title 1">
            <a:extLst>
              <a:ext uri="{FF2B5EF4-FFF2-40B4-BE49-F238E27FC236}">
                <a16:creationId xmlns:a16="http://schemas.microsoft.com/office/drawing/2014/main" id="{5ABF41C0-73C1-19D0-ACFB-59F9FDC39FCD}"/>
              </a:ext>
            </a:extLst>
          </p:cNvPr>
          <p:cNvSpPr>
            <a:spLocks noGrp="1"/>
          </p:cNvSpPr>
          <p:nvPr>
            <p:ph type="title" hasCustomPrompt="1"/>
          </p:nvPr>
        </p:nvSpPr>
        <p:spPr>
          <a:xfrm>
            <a:off x="274638" y="478097"/>
            <a:ext cx="11647487" cy="671434"/>
          </a:xfrm>
        </p:spPr>
        <p:txBody>
          <a:bodyPr anchor="b"/>
          <a:lstStyle>
            <a:lvl1pPr algn="ctr">
              <a:defRPr sz="4000" b="1">
                <a:solidFill>
                  <a:schemeClr val="bg1"/>
                </a:solidFill>
                <a:latin typeface="+mj-lt"/>
              </a:defRPr>
            </a:lvl1pPr>
          </a:lstStyle>
          <a:p>
            <a:r>
              <a:rPr lang="en-US" dirty="0"/>
              <a:t>CLICK TO ADD TITLE</a:t>
            </a:r>
          </a:p>
        </p:txBody>
      </p:sp>
      <p:cxnSp>
        <p:nvCxnSpPr>
          <p:cNvPr id="16" name="Straight Connector 15">
            <a:extLst>
              <a:ext uri="{FF2B5EF4-FFF2-40B4-BE49-F238E27FC236}">
                <a16:creationId xmlns:a16="http://schemas.microsoft.com/office/drawing/2014/main" id="{EB540C2C-E387-E280-05FB-1AF906C1A764}"/>
              </a:ext>
            </a:extLst>
          </p:cNvPr>
          <p:cNvCxnSpPr/>
          <p:nvPr userDrawn="1"/>
        </p:nvCxnSpPr>
        <p:spPr>
          <a:xfrm>
            <a:off x="0" y="129322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Text Placeholder 18">
            <a:extLst>
              <a:ext uri="{FF2B5EF4-FFF2-40B4-BE49-F238E27FC236}">
                <a16:creationId xmlns:a16="http://schemas.microsoft.com/office/drawing/2014/main" id="{5120A6E0-3C19-B22B-5BE6-B8D0EE0ED5B4}"/>
              </a:ext>
            </a:extLst>
          </p:cNvPr>
          <p:cNvSpPr>
            <a:spLocks noGrp="1"/>
          </p:cNvSpPr>
          <p:nvPr>
            <p:ph type="body" sz="quarter" idx="15" hasCustomPrompt="1"/>
          </p:nvPr>
        </p:nvSpPr>
        <p:spPr>
          <a:xfrm>
            <a:off x="274638" y="1437302"/>
            <a:ext cx="3547872" cy="1060471"/>
          </a:xfrm>
        </p:spPr>
        <p:txBody>
          <a:bodyPr anchor="t"/>
          <a:lstStyle>
            <a:lvl1pPr marL="0" indent="0" algn="ctr">
              <a:buFont typeface="Arial" panose="020B0604020202020204" pitchFamily="34" charset="0"/>
              <a:buNone/>
              <a:defRPr sz="3200" b="1">
                <a:gradFill>
                  <a:gsLst>
                    <a:gs pos="100000">
                      <a:schemeClr val="accent1"/>
                    </a:gs>
                    <a:gs pos="52000">
                      <a:schemeClr val="accent2"/>
                    </a:gs>
                    <a:gs pos="0">
                      <a:schemeClr val="accent3"/>
                    </a:gs>
                  </a:gsLst>
                  <a:lin ang="1800000" scaled="0"/>
                </a:gra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a:t>
            </a:r>
            <a:br>
              <a:rPr lang="en-US" dirty="0"/>
            </a:br>
            <a:r>
              <a:rPr lang="en-US" dirty="0"/>
              <a:t>Section Title</a:t>
            </a:r>
          </a:p>
        </p:txBody>
      </p:sp>
      <p:sp>
        <p:nvSpPr>
          <p:cNvPr id="22" name="Text Placeholder 18">
            <a:extLst>
              <a:ext uri="{FF2B5EF4-FFF2-40B4-BE49-F238E27FC236}">
                <a16:creationId xmlns:a16="http://schemas.microsoft.com/office/drawing/2014/main" id="{3F12A4E5-53DE-1161-B22D-CD6FD6BF9282}"/>
              </a:ext>
            </a:extLst>
          </p:cNvPr>
          <p:cNvSpPr>
            <a:spLocks noGrp="1"/>
          </p:cNvSpPr>
          <p:nvPr>
            <p:ph type="body" sz="quarter" idx="16" hasCustomPrompt="1"/>
          </p:nvPr>
        </p:nvSpPr>
        <p:spPr>
          <a:xfrm>
            <a:off x="8360102" y="1437302"/>
            <a:ext cx="3557259" cy="1060471"/>
          </a:xfrm>
        </p:spPr>
        <p:txBody>
          <a:bodyPr anchor="t"/>
          <a:lstStyle>
            <a:lvl1pPr marL="0" indent="0" algn="ctr">
              <a:buFont typeface="Arial" panose="020B0604020202020204" pitchFamily="34" charset="0"/>
              <a:buNone/>
              <a:defRPr sz="3200" b="1">
                <a:gradFill>
                  <a:gsLst>
                    <a:gs pos="100000">
                      <a:schemeClr val="accent1"/>
                    </a:gs>
                    <a:gs pos="52000">
                      <a:schemeClr val="accent2"/>
                    </a:gs>
                    <a:gs pos="0">
                      <a:schemeClr val="accent3"/>
                    </a:gs>
                  </a:gsLst>
                  <a:lin ang="1800000" scaled="0"/>
                </a:gra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a:t>
            </a:r>
            <a:br>
              <a:rPr lang="en-US" dirty="0"/>
            </a:br>
            <a:r>
              <a:rPr lang="en-US" dirty="0"/>
              <a:t>Section Title</a:t>
            </a:r>
          </a:p>
        </p:txBody>
      </p:sp>
      <p:sp>
        <p:nvSpPr>
          <p:cNvPr id="14" name="Content Placeholder 8">
            <a:extLst>
              <a:ext uri="{FF2B5EF4-FFF2-40B4-BE49-F238E27FC236}">
                <a16:creationId xmlns:a16="http://schemas.microsoft.com/office/drawing/2014/main" id="{A644DCA1-DF19-4180-7396-B6BAB567E0CD}"/>
              </a:ext>
            </a:extLst>
          </p:cNvPr>
          <p:cNvSpPr>
            <a:spLocks noGrp="1"/>
          </p:cNvSpPr>
          <p:nvPr>
            <p:ph sz="quarter" idx="11" hasCustomPrompt="1"/>
          </p:nvPr>
        </p:nvSpPr>
        <p:spPr>
          <a:xfrm>
            <a:off x="274639" y="2680892"/>
            <a:ext cx="3547872" cy="3872944"/>
          </a:xfrm>
        </p:spPr>
        <p:txBody>
          <a:bodyPr lIns="9144" bIns="0"/>
          <a:lstStyle>
            <a:lvl1pPr>
              <a:spcBef>
                <a:spcPts val="1200"/>
              </a:spcBef>
              <a:spcAft>
                <a:spcPts val="400"/>
              </a:spcAft>
              <a:defRPr sz="1800">
                <a:solidFill>
                  <a:schemeClr val="bg1"/>
                </a:solidFill>
              </a:defRPr>
            </a:lvl1pPr>
            <a:lvl2pPr>
              <a:spcAft>
                <a:spcPts val="400"/>
              </a:spcAft>
              <a:defRPr sz="1800">
                <a:solidFill>
                  <a:schemeClr val="bg1"/>
                </a:solidFill>
              </a:defRPr>
            </a:lvl2pPr>
            <a:lvl3pPr>
              <a:spcAft>
                <a:spcPts val="400"/>
              </a:spcAft>
              <a:defRPr sz="1800">
                <a:solidFill>
                  <a:schemeClr val="bg1"/>
                </a:solidFill>
              </a:defRPr>
            </a:lvl3pPr>
            <a:lvl4pPr>
              <a:spcAft>
                <a:spcPts val="400"/>
              </a:spcAft>
              <a:defRPr sz="1800">
                <a:solidFill>
                  <a:schemeClr val="bg1"/>
                </a:solidFill>
              </a:defRPr>
            </a:lvl4pPr>
            <a:lvl5pPr>
              <a:spcAft>
                <a:spcPts val="400"/>
              </a:spcAft>
              <a:defRPr sz="1800">
                <a:solidFill>
                  <a:schemeClr val="bg1"/>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8">
            <a:extLst>
              <a:ext uri="{FF2B5EF4-FFF2-40B4-BE49-F238E27FC236}">
                <a16:creationId xmlns:a16="http://schemas.microsoft.com/office/drawing/2014/main" id="{1534918B-469F-1CE3-835B-17D6E5840FBE}"/>
              </a:ext>
            </a:extLst>
          </p:cNvPr>
          <p:cNvSpPr>
            <a:spLocks noGrp="1"/>
          </p:cNvSpPr>
          <p:nvPr>
            <p:ph sz="quarter" idx="13" hasCustomPrompt="1"/>
          </p:nvPr>
        </p:nvSpPr>
        <p:spPr>
          <a:xfrm>
            <a:off x="4319868" y="2680892"/>
            <a:ext cx="3552264" cy="3872944"/>
          </a:xfrm>
        </p:spPr>
        <p:txBody>
          <a:bodyPr lIns="9144" bIns="0"/>
          <a:lstStyle>
            <a:lvl1pPr>
              <a:spcBef>
                <a:spcPts val="1200"/>
              </a:spcBef>
              <a:spcAft>
                <a:spcPts val="400"/>
              </a:spcAft>
              <a:defRPr sz="1800">
                <a:solidFill>
                  <a:schemeClr val="bg1"/>
                </a:solidFill>
              </a:defRPr>
            </a:lvl1pPr>
            <a:lvl2pPr>
              <a:spcAft>
                <a:spcPts val="400"/>
              </a:spcAft>
              <a:defRPr sz="1800">
                <a:solidFill>
                  <a:schemeClr val="bg1"/>
                </a:solidFill>
              </a:defRPr>
            </a:lvl2pPr>
            <a:lvl3pPr>
              <a:spcAft>
                <a:spcPts val="400"/>
              </a:spcAft>
              <a:defRPr sz="1800">
                <a:solidFill>
                  <a:schemeClr val="bg1"/>
                </a:solidFill>
              </a:defRPr>
            </a:lvl3pPr>
            <a:lvl4pPr>
              <a:spcAft>
                <a:spcPts val="400"/>
              </a:spcAft>
              <a:defRPr sz="1800">
                <a:solidFill>
                  <a:schemeClr val="bg1"/>
                </a:solidFill>
              </a:defRPr>
            </a:lvl4pPr>
            <a:lvl5pPr>
              <a:spcAft>
                <a:spcPts val="400"/>
              </a:spcAft>
              <a:defRPr sz="1800">
                <a:solidFill>
                  <a:schemeClr val="bg1"/>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8">
            <a:extLst>
              <a:ext uri="{FF2B5EF4-FFF2-40B4-BE49-F238E27FC236}">
                <a16:creationId xmlns:a16="http://schemas.microsoft.com/office/drawing/2014/main" id="{3C9297BA-501E-FB9A-C1A2-58D2C3F30703}"/>
              </a:ext>
            </a:extLst>
          </p:cNvPr>
          <p:cNvSpPr>
            <a:spLocks noGrp="1"/>
          </p:cNvSpPr>
          <p:nvPr>
            <p:ph sz="quarter" idx="14" hasCustomPrompt="1"/>
          </p:nvPr>
        </p:nvSpPr>
        <p:spPr>
          <a:xfrm>
            <a:off x="8360102" y="2680892"/>
            <a:ext cx="3552262" cy="3872944"/>
          </a:xfrm>
        </p:spPr>
        <p:txBody>
          <a:bodyPr lIns="9144" bIns="0"/>
          <a:lstStyle>
            <a:lvl1pPr>
              <a:spcBef>
                <a:spcPts val="1200"/>
              </a:spcBef>
              <a:spcAft>
                <a:spcPts val="400"/>
              </a:spcAft>
              <a:defRPr sz="1800">
                <a:solidFill>
                  <a:schemeClr val="bg1"/>
                </a:solidFill>
              </a:defRPr>
            </a:lvl1pPr>
            <a:lvl2pPr>
              <a:spcAft>
                <a:spcPts val="400"/>
              </a:spcAft>
              <a:defRPr sz="1800">
                <a:solidFill>
                  <a:schemeClr val="bg1"/>
                </a:solidFill>
              </a:defRPr>
            </a:lvl2pPr>
            <a:lvl3pPr>
              <a:spcAft>
                <a:spcPts val="400"/>
              </a:spcAft>
              <a:defRPr sz="1800">
                <a:solidFill>
                  <a:schemeClr val="bg1"/>
                </a:solidFill>
              </a:defRPr>
            </a:lvl3pPr>
            <a:lvl4pPr>
              <a:spcAft>
                <a:spcPts val="400"/>
              </a:spcAft>
              <a:defRPr sz="1800">
                <a:solidFill>
                  <a:schemeClr val="bg1"/>
                </a:solidFill>
              </a:defRPr>
            </a:lvl4pPr>
            <a:lvl5pPr>
              <a:spcAft>
                <a:spcPts val="400"/>
              </a:spcAft>
              <a:defRPr sz="1800">
                <a:solidFill>
                  <a:schemeClr val="bg1"/>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18">
            <a:extLst>
              <a:ext uri="{FF2B5EF4-FFF2-40B4-BE49-F238E27FC236}">
                <a16:creationId xmlns:a16="http://schemas.microsoft.com/office/drawing/2014/main" id="{341190EC-6072-27DF-D90D-9EA48DFB1530}"/>
              </a:ext>
            </a:extLst>
          </p:cNvPr>
          <p:cNvSpPr>
            <a:spLocks noGrp="1"/>
          </p:cNvSpPr>
          <p:nvPr>
            <p:ph type="body" sz="quarter" idx="17" hasCustomPrompt="1"/>
          </p:nvPr>
        </p:nvSpPr>
        <p:spPr>
          <a:xfrm>
            <a:off x="4312676" y="1436916"/>
            <a:ext cx="3557259" cy="1060471"/>
          </a:xfrm>
        </p:spPr>
        <p:txBody>
          <a:bodyPr anchor="t"/>
          <a:lstStyle>
            <a:lvl1pPr marL="0" indent="0" algn="ctr">
              <a:buFont typeface="Arial" panose="020B0604020202020204" pitchFamily="34" charset="0"/>
              <a:buNone/>
              <a:defRPr sz="3200" b="1">
                <a:gradFill>
                  <a:gsLst>
                    <a:gs pos="100000">
                      <a:schemeClr val="accent1"/>
                    </a:gs>
                    <a:gs pos="52000">
                      <a:schemeClr val="accent2"/>
                    </a:gs>
                    <a:gs pos="0">
                      <a:schemeClr val="accent3"/>
                    </a:gs>
                  </a:gsLst>
                  <a:lin ang="1800000" scaled="0"/>
                </a:gra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a:t>
            </a:r>
            <a:br>
              <a:rPr lang="en-US" dirty="0"/>
            </a:br>
            <a:r>
              <a:rPr lang="en-US" dirty="0"/>
              <a:t>Section Title</a:t>
            </a:r>
          </a:p>
        </p:txBody>
      </p:sp>
      <p:grpSp>
        <p:nvGrpSpPr>
          <p:cNvPr id="25" name="Group 24">
            <a:extLst>
              <a:ext uri="{FF2B5EF4-FFF2-40B4-BE49-F238E27FC236}">
                <a16:creationId xmlns:a16="http://schemas.microsoft.com/office/drawing/2014/main" id="{6F612E36-6649-6724-D900-193899BE47ED}"/>
              </a:ext>
            </a:extLst>
          </p:cNvPr>
          <p:cNvGrpSpPr/>
          <p:nvPr userDrawn="1"/>
        </p:nvGrpSpPr>
        <p:grpSpPr>
          <a:xfrm>
            <a:off x="4072203" y="1293223"/>
            <a:ext cx="4047012" cy="5567315"/>
            <a:chOff x="4072203" y="1968498"/>
            <a:chExt cx="4047012" cy="4892040"/>
          </a:xfrm>
        </p:grpSpPr>
        <p:cxnSp>
          <p:nvCxnSpPr>
            <p:cNvPr id="26" name="Straight Connector 25">
              <a:extLst>
                <a:ext uri="{FF2B5EF4-FFF2-40B4-BE49-F238E27FC236}">
                  <a16:creationId xmlns:a16="http://schemas.microsoft.com/office/drawing/2014/main" id="{AB0F34B6-9051-DE89-1BA5-51B89C8B2C4B}"/>
                </a:ext>
              </a:extLst>
            </p:cNvPr>
            <p:cNvCxnSpPr/>
            <p:nvPr/>
          </p:nvCxnSpPr>
          <p:spPr>
            <a:xfrm>
              <a:off x="4072203" y="1968498"/>
              <a:ext cx="0" cy="489204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9C2D5B69-BE24-D981-0688-1E870F425D0C}"/>
                </a:ext>
              </a:extLst>
            </p:cNvPr>
            <p:cNvCxnSpPr/>
            <p:nvPr/>
          </p:nvCxnSpPr>
          <p:spPr>
            <a:xfrm>
              <a:off x="8119215" y="1968498"/>
              <a:ext cx="0" cy="489204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83441431"/>
      </p:ext>
    </p:extLst>
  </p:cSld>
  <p:clrMapOvr>
    <a:masterClrMapping/>
  </p:clrMapOvr>
  <p:transition>
    <p:fade/>
  </p:transition>
  <p:hf hdr="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 Columns (White)">
    <p:bg>
      <p:bgPr>
        <a:solidFill>
          <a:schemeClr val="bg1"/>
        </a:solidFill>
        <a:effectLst/>
      </p:bgPr>
    </p:bg>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D2087AFE-FF5C-8142-ACD9-5F5FAAD78E1B}"/>
              </a:ext>
            </a:extLst>
          </p:cNvPr>
          <p:cNvCxnSpPr/>
          <p:nvPr/>
        </p:nvCxnSpPr>
        <p:spPr>
          <a:xfrm>
            <a:off x="0" y="36576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115F4446-5921-C54D-8A82-C927842323BC}"/>
              </a:ext>
            </a:extLst>
          </p:cNvPr>
          <p:cNvSpPr>
            <a:spLocks noGrp="1"/>
          </p:cNvSpPr>
          <p:nvPr>
            <p:ph type="sldNum" sz="quarter" idx="4"/>
          </p:nvPr>
        </p:nvSpPr>
        <p:spPr>
          <a:xfrm>
            <a:off x="274638" y="133411"/>
            <a:ext cx="211271" cy="120013"/>
          </a:xfrm>
          <a:prstGeom prst="rect">
            <a:avLst/>
          </a:prstGeom>
        </p:spPr>
        <p:txBody>
          <a:bodyPr vert="horz" lIns="0" tIns="0" rIns="0" bIns="0" rtlCol="0" anchor="ctr"/>
          <a:lstStyle>
            <a:lvl1pPr algn="l">
              <a:defRPr sz="500" b="1" i="0" spc="50" baseline="0">
                <a:solidFill>
                  <a:schemeClr val="tx1"/>
                </a:solidFill>
                <a:latin typeface="+mn-lt"/>
                <a:cs typeface="Arial" panose="020B0604020202020204" pitchFamily="34" charset="0"/>
              </a:defRPr>
            </a:lvl1pPr>
          </a:lstStyle>
          <a:p>
            <a:fld id="{4571BA12-316B-0A40-BB3D-1A8CDD33E9E5}" type="slidenum">
              <a:rPr lang="en-US" smtClean="0"/>
              <a:pPr/>
              <a:t>‹#›</a:t>
            </a:fld>
            <a:endParaRPr lang="en-US" dirty="0"/>
          </a:p>
        </p:txBody>
      </p:sp>
      <p:sp>
        <p:nvSpPr>
          <p:cNvPr id="8" name="SUHO LIMITED RELEASE…">
            <a:extLst>
              <a:ext uri="{FF2B5EF4-FFF2-40B4-BE49-F238E27FC236}">
                <a16:creationId xmlns:a16="http://schemas.microsoft.com/office/drawing/2014/main" id="{089ABED4-B2DF-B242-8E41-5AABF3122FDC}"/>
              </a:ext>
            </a:extLst>
          </p:cNvPr>
          <p:cNvSpPr txBox="1"/>
          <p:nvPr/>
        </p:nvSpPr>
        <p:spPr>
          <a:xfrm>
            <a:off x="6292066" y="141350"/>
            <a:ext cx="5625296" cy="9150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ctr">
            <a:spAutoFit/>
          </a:bodyPr>
          <a:lstStyle/>
          <a:p>
            <a:pPr algn="r">
              <a:lnSpc>
                <a:spcPts val="750"/>
              </a:lnSpc>
              <a:defRPr sz="1500" b="1" cap="all">
                <a:solidFill>
                  <a:srgbClr val="9F9F94"/>
                </a:solidFill>
              </a:defRPr>
            </a:pPr>
            <a:r>
              <a:rPr lang="en-US" sz="500" b="1" spc="50" baseline="0" dirty="0">
                <a:solidFill>
                  <a:schemeClr val="tx1"/>
                </a:solidFill>
                <a:latin typeface="+mn-lt"/>
                <a:ea typeface="Helvetica Neue" panose="02000503000000020004" pitchFamily="2" charset="0"/>
                <a:cs typeface="Arial" panose="020B0604020202020204" pitchFamily="34" charset="0"/>
              </a:rPr>
              <a:t>© 2022 Western Digital Corporation or its affiliates  All rights reserved</a:t>
            </a:r>
          </a:p>
        </p:txBody>
      </p:sp>
      <p:sp>
        <p:nvSpPr>
          <p:cNvPr id="9" name="SUHO LIMITED RELEASE…">
            <a:extLst>
              <a:ext uri="{FF2B5EF4-FFF2-40B4-BE49-F238E27FC236}">
                <a16:creationId xmlns:a16="http://schemas.microsoft.com/office/drawing/2014/main" id="{7AD33A5E-2435-AA40-9E59-38DFC78C649F}"/>
              </a:ext>
            </a:extLst>
          </p:cNvPr>
          <p:cNvSpPr txBox="1"/>
          <p:nvPr/>
        </p:nvSpPr>
        <p:spPr>
          <a:xfrm>
            <a:off x="542925" y="141286"/>
            <a:ext cx="1515387" cy="9156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ctr">
            <a:spAutoFit/>
          </a:bodyPr>
          <a:lstStyle/>
          <a:p>
            <a:pPr algn="l">
              <a:lnSpc>
                <a:spcPts val="750"/>
              </a:lnSpc>
              <a:defRPr sz="1500" b="1" cap="all">
                <a:solidFill>
                  <a:srgbClr val="9F9F94"/>
                </a:solidFill>
              </a:defRPr>
            </a:pPr>
            <a:r>
              <a:rPr lang="en-US" sz="500" b="1" spc="50" baseline="0" dirty="0">
                <a:solidFill>
                  <a:schemeClr val="tx1"/>
                </a:solidFill>
                <a:latin typeface="+mn-lt"/>
                <a:ea typeface="Helvetica Neue" panose="02000503000000020004" pitchFamily="2" charset="0"/>
                <a:cs typeface="Arial" panose="020B0604020202020204" pitchFamily="34" charset="0"/>
              </a:rPr>
              <a:t>WESTERN DIGITAL CONFIDENTIAL</a:t>
            </a:r>
          </a:p>
        </p:txBody>
      </p:sp>
      <p:cxnSp>
        <p:nvCxnSpPr>
          <p:cNvPr id="17" name="Straight Connector 16">
            <a:extLst>
              <a:ext uri="{FF2B5EF4-FFF2-40B4-BE49-F238E27FC236}">
                <a16:creationId xmlns:a16="http://schemas.microsoft.com/office/drawing/2014/main" id="{82E114E2-81CD-CE4B-8F7A-AEB005FB691F}"/>
              </a:ext>
            </a:extLst>
          </p:cNvPr>
          <p:cNvCxnSpPr>
            <a:cxnSpLocks/>
          </p:cNvCxnSpPr>
          <p:nvPr userDrawn="1"/>
        </p:nvCxnSpPr>
        <p:spPr>
          <a:xfrm>
            <a:off x="0" y="6858000"/>
            <a:ext cx="1219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5ABF41C0-73C1-19D0-ACFB-59F9FDC39FCD}"/>
              </a:ext>
            </a:extLst>
          </p:cNvPr>
          <p:cNvSpPr>
            <a:spLocks noGrp="1"/>
          </p:cNvSpPr>
          <p:nvPr>
            <p:ph type="title" hasCustomPrompt="1"/>
          </p:nvPr>
        </p:nvSpPr>
        <p:spPr>
          <a:xfrm>
            <a:off x="274638" y="478097"/>
            <a:ext cx="11647487" cy="671434"/>
          </a:xfrm>
        </p:spPr>
        <p:txBody>
          <a:bodyPr anchor="b"/>
          <a:lstStyle>
            <a:lvl1pPr algn="ctr">
              <a:defRPr sz="4000" b="1">
                <a:solidFill>
                  <a:schemeClr val="tx1"/>
                </a:solidFill>
                <a:latin typeface="+mj-lt"/>
              </a:defRPr>
            </a:lvl1pPr>
          </a:lstStyle>
          <a:p>
            <a:r>
              <a:rPr lang="en-US" dirty="0"/>
              <a:t>CLICK TO ADD TITLE</a:t>
            </a:r>
          </a:p>
        </p:txBody>
      </p:sp>
      <p:cxnSp>
        <p:nvCxnSpPr>
          <p:cNvPr id="16" name="Straight Connector 15">
            <a:extLst>
              <a:ext uri="{FF2B5EF4-FFF2-40B4-BE49-F238E27FC236}">
                <a16:creationId xmlns:a16="http://schemas.microsoft.com/office/drawing/2014/main" id="{EB540C2C-E387-E280-05FB-1AF906C1A764}"/>
              </a:ext>
            </a:extLst>
          </p:cNvPr>
          <p:cNvCxnSpPr/>
          <p:nvPr userDrawn="1"/>
        </p:nvCxnSpPr>
        <p:spPr>
          <a:xfrm>
            <a:off x="0" y="1293223"/>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 Placeholder 18">
            <a:extLst>
              <a:ext uri="{FF2B5EF4-FFF2-40B4-BE49-F238E27FC236}">
                <a16:creationId xmlns:a16="http://schemas.microsoft.com/office/drawing/2014/main" id="{5120A6E0-3C19-B22B-5BE6-B8D0EE0ED5B4}"/>
              </a:ext>
            </a:extLst>
          </p:cNvPr>
          <p:cNvSpPr>
            <a:spLocks noGrp="1"/>
          </p:cNvSpPr>
          <p:nvPr>
            <p:ph type="body" sz="quarter" idx="15" hasCustomPrompt="1"/>
          </p:nvPr>
        </p:nvSpPr>
        <p:spPr>
          <a:xfrm>
            <a:off x="274638" y="1437302"/>
            <a:ext cx="3547872" cy="1060471"/>
          </a:xfrm>
        </p:spPr>
        <p:txBody>
          <a:bodyPr anchor="t"/>
          <a:lstStyle>
            <a:lvl1pPr marL="0" indent="0" algn="ctr">
              <a:buFont typeface="Arial" panose="020B0604020202020204" pitchFamily="34" charset="0"/>
              <a:buNone/>
              <a:defRPr sz="3200" b="1">
                <a:gradFill>
                  <a:gsLst>
                    <a:gs pos="100000">
                      <a:schemeClr val="accent1"/>
                    </a:gs>
                    <a:gs pos="52000">
                      <a:schemeClr val="accent2"/>
                    </a:gs>
                    <a:gs pos="0">
                      <a:schemeClr val="accent3"/>
                    </a:gs>
                  </a:gsLst>
                  <a:lin ang="1800000" scaled="0"/>
                </a:gra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a:t>
            </a:r>
            <a:br>
              <a:rPr lang="en-US" dirty="0"/>
            </a:br>
            <a:r>
              <a:rPr lang="en-US" dirty="0"/>
              <a:t>Section Title</a:t>
            </a:r>
          </a:p>
        </p:txBody>
      </p:sp>
      <p:sp>
        <p:nvSpPr>
          <p:cNvPr id="22" name="Text Placeholder 18">
            <a:extLst>
              <a:ext uri="{FF2B5EF4-FFF2-40B4-BE49-F238E27FC236}">
                <a16:creationId xmlns:a16="http://schemas.microsoft.com/office/drawing/2014/main" id="{3F12A4E5-53DE-1161-B22D-CD6FD6BF9282}"/>
              </a:ext>
            </a:extLst>
          </p:cNvPr>
          <p:cNvSpPr>
            <a:spLocks noGrp="1"/>
          </p:cNvSpPr>
          <p:nvPr>
            <p:ph type="body" sz="quarter" idx="16" hasCustomPrompt="1"/>
          </p:nvPr>
        </p:nvSpPr>
        <p:spPr>
          <a:xfrm>
            <a:off x="8360102" y="1437302"/>
            <a:ext cx="3557259" cy="1060471"/>
          </a:xfrm>
        </p:spPr>
        <p:txBody>
          <a:bodyPr anchor="t"/>
          <a:lstStyle>
            <a:lvl1pPr marL="0" indent="0" algn="ctr">
              <a:buFont typeface="Arial" panose="020B0604020202020204" pitchFamily="34" charset="0"/>
              <a:buNone/>
              <a:defRPr sz="3200" b="1">
                <a:gradFill>
                  <a:gsLst>
                    <a:gs pos="100000">
                      <a:schemeClr val="accent1"/>
                    </a:gs>
                    <a:gs pos="52000">
                      <a:schemeClr val="accent2"/>
                    </a:gs>
                    <a:gs pos="0">
                      <a:schemeClr val="accent3"/>
                    </a:gs>
                  </a:gsLst>
                  <a:lin ang="1800000" scaled="0"/>
                </a:gra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a:t>
            </a:r>
            <a:br>
              <a:rPr lang="en-US" dirty="0"/>
            </a:br>
            <a:r>
              <a:rPr lang="en-US" dirty="0"/>
              <a:t>Section Title</a:t>
            </a:r>
          </a:p>
        </p:txBody>
      </p:sp>
      <p:sp>
        <p:nvSpPr>
          <p:cNvPr id="14" name="Content Placeholder 8">
            <a:extLst>
              <a:ext uri="{FF2B5EF4-FFF2-40B4-BE49-F238E27FC236}">
                <a16:creationId xmlns:a16="http://schemas.microsoft.com/office/drawing/2014/main" id="{A644DCA1-DF19-4180-7396-B6BAB567E0CD}"/>
              </a:ext>
            </a:extLst>
          </p:cNvPr>
          <p:cNvSpPr>
            <a:spLocks noGrp="1"/>
          </p:cNvSpPr>
          <p:nvPr>
            <p:ph sz="quarter" idx="11" hasCustomPrompt="1"/>
          </p:nvPr>
        </p:nvSpPr>
        <p:spPr>
          <a:xfrm>
            <a:off x="274639" y="2680892"/>
            <a:ext cx="3547872" cy="3872944"/>
          </a:xfrm>
        </p:spPr>
        <p:txBody>
          <a:bodyPr lIns="9144" bIns="0"/>
          <a:lstStyle>
            <a:lvl1pPr>
              <a:spcBef>
                <a:spcPts val="1200"/>
              </a:spcBef>
              <a:spcAft>
                <a:spcPts val="400"/>
              </a:spcAft>
              <a:defRPr sz="1800">
                <a:solidFill>
                  <a:schemeClr val="tx1"/>
                </a:solidFill>
              </a:defRPr>
            </a:lvl1pPr>
            <a:lvl2pPr>
              <a:spcAft>
                <a:spcPts val="400"/>
              </a:spcAft>
              <a:defRPr sz="1800">
                <a:solidFill>
                  <a:schemeClr val="tx1"/>
                </a:solidFill>
              </a:defRPr>
            </a:lvl2pPr>
            <a:lvl3pPr>
              <a:spcAft>
                <a:spcPts val="400"/>
              </a:spcAft>
              <a:defRPr sz="1800">
                <a:solidFill>
                  <a:schemeClr val="tx1"/>
                </a:solidFill>
              </a:defRPr>
            </a:lvl3pPr>
            <a:lvl4pPr>
              <a:spcAft>
                <a:spcPts val="400"/>
              </a:spcAft>
              <a:defRPr sz="1800">
                <a:solidFill>
                  <a:schemeClr val="tx1"/>
                </a:solidFill>
              </a:defRPr>
            </a:lvl4pPr>
            <a:lvl5pPr>
              <a:spcAft>
                <a:spcPts val="400"/>
              </a:spcAft>
              <a:defRPr sz="1800">
                <a:solidFill>
                  <a:schemeClr val="tx1"/>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8">
            <a:extLst>
              <a:ext uri="{FF2B5EF4-FFF2-40B4-BE49-F238E27FC236}">
                <a16:creationId xmlns:a16="http://schemas.microsoft.com/office/drawing/2014/main" id="{1534918B-469F-1CE3-835B-17D6E5840FBE}"/>
              </a:ext>
            </a:extLst>
          </p:cNvPr>
          <p:cNvSpPr>
            <a:spLocks noGrp="1"/>
          </p:cNvSpPr>
          <p:nvPr>
            <p:ph sz="quarter" idx="13" hasCustomPrompt="1"/>
          </p:nvPr>
        </p:nvSpPr>
        <p:spPr>
          <a:xfrm>
            <a:off x="4319868" y="2680892"/>
            <a:ext cx="3552264" cy="3872944"/>
          </a:xfrm>
        </p:spPr>
        <p:txBody>
          <a:bodyPr lIns="9144" bIns="0"/>
          <a:lstStyle>
            <a:lvl1pPr>
              <a:spcBef>
                <a:spcPts val="1200"/>
              </a:spcBef>
              <a:spcAft>
                <a:spcPts val="400"/>
              </a:spcAft>
              <a:defRPr sz="1800">
                <a:solidFill>
                  <a:schemeClr val="tx1"/>
                </a:solidFill>
              </a:defRPr>
            </a:lvl1pPr>
            <a:lvl2pPr>
              <a:spcAft>
                <a:spcPts val="400"/>
              </a:spcAft>
              <a:defRPr sz="1800">
                <a:solidFill>
                  <a:schemeClr val="tx1"/>
                </a:solidFill>
              </a:defRPr>
            </a:lvl2pPr>
            <a:lvl3pPr>
              <a:spcAft>
                <a:spcPts val="400"/>
              </a:spcAft>
              <a:defRPr sz="1800">
                <a:solidFill>
                  <a:schemeClr val="tx1"/>
                </a:solidFill>
              </a:defRPr>
            </a:lvl3pPr>
            <a:lvl4pPr>
              <a:spcAft>
                <a:spcPts val="400"/>
              </a:spcAft>
              <a:defRPr sz="1800">
                <a:solidFill>
                  <a:schemeClr val="tx1"/>
                </a:solidFill>
              </a:defRPr>
            </a:lvl4pPr>
            <a:lvl5pPr>
              <a:spcAft>
                <a:spcPts val="400"/>
              </a:spcAft>
              <a:defRPr sz="1800">
                <a:solidFill>
                  <a:schemeClr val="tx1"/>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8">
            <a:extLst>
              <a:ext uri="{FF2B5EF4-FFF2-40B4-BE49-F238E27FC236}">
                <a16:creationId xmlns:a16="http://schemas.microsoft.com/office/drawing/2014/main" id="{3C9297BA-501E-FB9A-C1A2-58D2C3F30703}"/>
              </a:ext>
            </a:extLst>
          </p:cNvPr>
          <p:cNvSpPr>
            <a:spLocks noGrp="1"/>
          </p:cNvSpPr>
          <p:nvPr>
            <p:ph sz="quarter" idx="14" hasCustomPrompt="1"/>
          </p:nvPr>
        </p:nvSpPr>
        <p:spPr>
          <a:xfrm>
            <a:off x="8360102" y="2680892"/>
            <a:ext cx="3552262" cy="3872944"/>
          </a:xfrm>
        </p:spPr>
        <p:txBody>
          <a:bodyPr lIns="9144" bIns="0"/>
          <a:lstStyle>
            <a:lvl1pPr>
              <a:spcBef>
                <a:spcPts val="1200"/>
              </a:spcBef>
              <a:spcAft>
                <a:spcPts val="400"/>
              </a:spcAft>
              <a:defRPr sz="1800">
                <a:solidFill>
                  <a:schemeClr val="tx1"/>
                </a:solidFill>
              </a:defRPr>
            </a:lvl1pPr>
            <a:lvl2pPr>
              <a:spcAft>
                <a:spcPts val="400"/>
              </a:spcAft>
              <a:defRPr sz="1800">
                <a:solidFill>
                  <a:schemeClr val="tx1"/>
                </a:solidFill>
              </a:defRPr>
            </a:lvl2pPr>
            <a:lvl3pPr>
              <a:spcAft>
                <a:spcPts val="400"/>
              </a:spcAft>
              <a:defRPr sz="1800">
                <a:solidFill>
                  <a:schemeClr val="tx1"/>
                </a:solidFill>
              </a:defRPr>
            </a:lvl3pPr>
            <a:lvl4pPr>
              <a:spcAft>
                <a:spcPts val="400"/>
              </a:spcAft>
              <a:defRPr sz="1800">
                <a:solidFill>
                  <a:schemeClr val="tx1"/>
                </a:solidFill>
              </a:defRPr>
            </a:lvl4pPr>
            <a:lvl5pPr>
              <a:spcAft>
                <a:spcPts val="400"/>
              </a:spcAft>
              <a:defRPr sz="1800">
                <a:solidFill>
                  <a:schemeClr val="tx1"/>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18">
            <a:extLst>
              <a:ext uri="{FF2B5EF4-FFF2-40B4-BE49-F238E27FC236}">
                <a16:creationId xmlns:a16="http://schemas.microsoft.com/office/drawing/2014/main" id="{341190EC-6072-27DF-D90D-9EA48DFB1530}"/>
              </a:ext>
            </a:extLst>
          </p:cNvPr>
          <p:cNvSpPr>
            <a:spLocks noGrp="1"/>
          </p:cNvSpPr>
          <p:nvPr>
            <p:ph type="body" sz="quarter" idx="17" hasCustomPrompt="1"/>
          </p:nvPr>
        </p:nvSpPr>
        <p:spPr>
          <a:xfrm>
            <a:off x="4312676" y="1436916"/>
            <a:ext cx="3557259" cy="1060471"/>
          </a:xfrm>
        </p:spPr>
        <p:txBody>
          <a:bodyPr anchor="t"/>
          <a:lstStyle>
            <a:lvl1pPr marL="0" indent="0" algn="ctr">
              <a:buFont typeface="Arial" panose="020B0604020202020204" pitchFamily="34" charset="0"/>
              <a:buNone/>
              <a:defRPr sz="3200" b="1">
                <a:gradFill>
                  <a:gsLst>
                    <a:gs pos="100000">
                      <a:schemeClr val="accent1"/>
                    </a:gs>
                    <a:gs pos="52000">
                      <a:schemeClr val="accent2"/>
                    </a:gs>
                    <a:gs pos="0">
                      <a:schemeClr val="accent3"/>
                    </a:gs>
                  </a:gsLst>
                  <a:lin ang="1800000" scaled="0"/>
                </a:gra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a:t>
            </a:r>
            <a:br>
              <a:rPr lang="en-US" dirty="0"/>
            </a:br>
            <a:r>
              <a:rPr lang="en-US" dirty="0"/>
              <a:t>Section Title</a:t>
            </a:r>
          </a:p>
        </p:txBody>
      </p:sp>
      <p:grpSp>
        <p:nvGrpSpPr>
          <p:cNvPr id="25" name="Group 24">
            <a:extLst>
              <a:ext uri="{FF2B5EF4-FFF2-40B4-BE49-F238E27FC236}">
                <a16:creationId xmlns:a16="http://schemas.microsoft.com/office/drawing/2014/main" id="{6F612E36-6649-6724-D900-193899BE47ED}"/>
              </a:ext>
            </a:extLst>
          </p:cNvPr>
          <p:cNvGrpSpPr/>
          <p:nvPr userDrawn="1"/>
        </p:nvGrpSpPr>
        <p:grpSpPr>
          <a:xfrm>
            <a:off x="4072203" y="1293223"/>
            <a:ext cx="4047012" cy="5567315"/>
            <a:chOff x="4072203" y="1968498"/>
            <a:chExt cx="4047012" cy="4892040"/>
          </a:xfrm>
        </p:grpSpPr>
        <p:cxnSp>
          <p:nvCxnSpPr>
            <p:cNvPr id="26" name="Straight Connector 25">
              <a:extLst>
                <a:ext uri="{FF2B5EF4-FFF2-40B4-BE49-F238E27FC236}">
                  <a16:creationId xmlns:a16="http://schemas.microsoft.com/office/drawing/2014/main" id="{AB0F34B6-9051-DE89-1BA5-51B89C8B2C4B}"/>
                </a:ext>
              </a:extLst>
            </p:cNvPr>
            <p:cNvCxnSpPr/>
            <p:nvPr/>
          </p:nvCxnSpPr>
          <p:spPr>
            <a:xfrm>
              <a:off x="4072203" y="1968498"/>
              <a:ext cx="0" cy="48920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9C2D5B69-BE24-D981-0688-1E870F425D0C}"/>
                </a:ext>
              </a:extLst>
            </p:cNvPr>
            <p:cNvCxnSpPr/>
            <p:nvPr/>
          </p:nvCxnSpPr>
          <p:spPr>
            <a:xfrm>
              <a:off x="8119215" y="1968498"/>
              <a:ext cx="0" cy="48920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749486032"/>
      </p:ext>
    </p:extLst>
  </p:cSld>
  <p:clrMapOvr>
    <a:masterClrMapping/>
  </p:clrMapOvr>
  <p:transition>
    <p:fade/>
  </p:transition>
  <p:hf hdr="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 Content (Black)">
    <p:bg>
      <p:bgPr>
        <a:solidFill>
          <a:schemeClr val="tx1"/>
        </a:solidFill>
        <a:effectLst/>
      </p:bgPr>
    </p:bg>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D2087AFE-FF5C-8142-ACD9-5F5FAAD78E1B}"/>
              </a:ext>
            </a:extLst>
          </p:cNvPr>
          <p:cNvCxnSpPr/>
          <p:nvPr/>
        </p:nvCxnSpPr>
        <p:spPr>
          <a:xfrm>
            <a:off x="0" y="365760"/>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115F4446-5921-C54D-8A82-C927842323BC}"/>
              </a:ext>
            </a:extLst>
          </p:cNvPr>
          <p:cNvSpPr>
            <a:spLocks noGrp="1"/>
          </p:cNvSpPr>
          <p:nvPr>
            <p:ph type="sldNum" sz="quarter" idx="4"/>
          </p:nvPr>
        </p:nvSpPr>
        <p:spPr>
          <a:xfrm>
            <a:off x="274638" y="133411"/>
            <a:ext cx="211271" cy="120013"/>
          </a:xfrm>
          <a:prstGeom prst="rect">
            <a:avLst/>
          </a:prstGeom>
        </p:spPr>
        <p:txBody>
          <a:bodyPr vert="horz" lIns="0" tIns="0" rIns="0" bIns="0" rtlCol="0" anchor="ctr"/>
          <a:lstStyle>
            <a:lvl1pPr algn="l">
              <a:defRPr sz="500" b="1" i="0" spc="50" baseline="0">
                <a:solidFill>
                  <a:schemeClr val="bg1"/>
                </a:solidFill>
                <a:latin typeface="+mn-lt"/>
                <a:cs typeface="Arial" panose="020B0604020202020204" pitchFamily="34" charset="0"/>
              </a:defRPr>
            </a:lvl1pPr>
          </a:lstStyle>
          <a:p>
            <a:fld id="{4571BA12-316B-0A40-BB3D-1A8CDD33E9E5}" type="slidenum">
              <a:rPr lang="en-US" smtClean="0"/>
              <a:pPr/>
              <a:t>‹#›</a:t>
            </a:fld>
            <a:endParaRPr lang="en-US" dirty="0"/>
          </a:p>
        </p:txBody>
      </p:sp>
      <p:sp>
        <p:nvSpPr>
          <p:cNvPr id="8" name="SUHO LIMITED RELEASE…">
            <a:extLst>
              <a:ext uri="{FF2B5EF4-FFF2-40B4-BE49-F238E27FC236}">
                <a16:creationId xmlns:a16="http://schemas.microsoft.com/office/drawing/2014/main" id="{089ABED4-B2DF-B242-8E41-5AABF3122FDC}"/>
              </a:ext>
            </a:extLst>
          </p:cNvPr>
          <p:cNvSpPr txBox="1"/>
          <p:nvPr/>
        </p:nvSpPr>
        <p:spPr>
          <a:xfrm>
            <a:off x="6292066" y="141350"/>
            <a:ext cx="5625296" cy="9150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ctr">
            <a:spAutoFit/>
          </a:bodyPr>
          <a:lstStyle/>
          <a:p>
            <a:pPr algn="r">
              <a:lnSpc>
                <a:spcPts val="750"/>
              </a:lnSpc>
              <a:defRPr sz="1500" b="1" cap="all">
                <a:solidFill>
                  <a:srgbClr val="9F9F94"/>
                </a:solidFill>
              </a:defRPr>
            </a:pPr>
            <a:r>
              <a:rPr lang="en-US" sz="500" b="1" spc="50" baseline="0" dirty="0">
                <a:solidFill>
                  <a:schemeClr val="bg1"/>
                </a:solidFill>
                <a:latin typeface="+mn-lt"/>
                <a:ea typeface="Helvetica Neue" panose="02000503000000020004" pitchFamily="2" charset="0"/>
                <a:cs typeface="Arial" panose="020B0604020202020204" pitchFamily="34" charset="0"/>
              </a:rPr>
              <a:t>© 2022 Western Digital Corporation or its affiliates  All rights reserved</a:t>
            </a:r>
          </a:p>
        </p:txBody>
      </p:sp>
      <p:sp>
        <p:nvSpPr>
          <p:cNvPr id="9" name="SUHO LIMITED RELEASE…">
            <a:extLst>
              <a:ext uri="{FF2B5EF4-FFF2-40B4-BE49-F238E27FC236}">
                <a16:creationId xmlns:a16="http://schemas.microsoft.com/office/drawing/2014/main" id="{7AD33A5E-2435-AA40-9E59-38DFC78C649F}"/>
              </a:ext>
            </a:extLst>
          </p:cNvPr>
          <p:cNvSpPr txBox="1"/>
          <p:nvPr/>
        </p:nvSpPr>
        <p:spPr>
          <a:xfrm>
            <a:off x="542925" y="141286"/>
            <a:ext cx="1515387" cy="9156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ctr">
            <a:spAutoFit/>
          </a:bodyPr>
          <a:lstStyle/>
          <a:p>
            <a:pPr algn="l">
              <a:lnSpc>
                <a:spcPts val="750"/>
              </a:lnSpc>
              <a:defRPr sz="1500" b="1" cap="all">
                <a:solidFill>
                  <a:srgbClr val="9F9F94"/>
                </a:solidFill>
              </a:defRPr>
            </a:pPr>
            <a:r>
              <a:rPr lang="en-US" sz="500" b="1" spc="50" baseline="0" dirty="0">
                <a:solidFill>
                  <a:schemeClr val="bg1"/>
                </a:solidFill>
                <a:latin typeface="+mn-lt"/>
                <a:ea typeface="Helvetica Neue" panose="02000503000000020004" pitchFamily="2" charset="0"/>
                <a:cs typeface="Arial" panose="020B0604020202020204" pitchFamily="34" charset="0"/>
              </a:rPr>
              <a:t>WESTERN DIGITAL CONFIDENTIAL</a:t>
            </a:r>
          </a:p>
        </p:txBody>
      </p:sp>
      <p:sp>
        <p:nvSpPr>
          <p:cNvPr id="11" name="Title 1">
            <a:extLst>
              <a:ext uri="{FF2B5EF4-FFF2-40B4-BE49-F238E27FC236}">
                <a16:creationId xmlns:a16="http://schemas.microsoft.com/office/drawing/2014/main" id="{5ABF41C0-73C1-19D0-ACFB-59F9FDC39FCD}"/>
              </a:ext>
            </a:extLst>
          </p:cNvPr>
          <p:cNvSpPr>
            <a:spLocks noGrp="1"/>
          </p:cNvSpPr>
          <p:nvPr>
            <p:ph type="title" hasCustomPrompt="1"/>
          </p:nvPr>
        </p:nvSpPr>
        <p:spPr>
          <a:xfrm>
            <a:off x="274638" y="478097"/>
            <a:ext cx="11647487" cy="671434"/>
          </a:xfrm>
        </p:spPr>
        <p:txBody>
          <a:bodyPr anchor="b"/>
          <a:lstStyle>
            <a:lvl1pPr algn="ctr">
              <a:defRPr sz="4000" b="1">
                <a:solidFill>
                  <a:schemeClr val="bg1"/>
                </a:solidFill>
                <a:latin typeface="+mj-lt"/>
              </a:defRPr>
            </a:lvl1pPr>
          </a:lstStyle>
          <a:p>
            <a:r>
              <a:rPr lang="en-US" dirty="0"/>
              <a:t>CLICK TO ADD TITLE</a:t>
            </a:r>
          </a:p>
        </p:txBody>
      </p:sp>
      <p:cxnSp>
        <p:nvCxnSpPr>
          <p:cNvPr id="16" name="Straight Connector 15">
            <a:extLst>
              <a:ext uri="{FF2B5EF4-FFF2-40B4-BE49-F238E27FC236}">
                <a16:creationId xmlns:a16="http://schemas.microsoft.com/office/drawing/2014/main" id="{EB540C2C-E387-E280-05FB-1AF906C1A764}"/>
              </a:ext>
            </a:extLst>
          </p:cNvPr>
          <p:cNvCxnSpPr/>
          <p:nvPr userDrawn="1"/>
        </p:nvCxnSpPr>
        <p:spPr>
          <a:xfrm>
            <a:off x="0" y="129322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7" name="Content Placeholder 8">
            <a:extLst>
              <a:ext uri="{FF2B5EF4-FFF2-40B4-BE49-F238E27FC236}">
                <a16:creationId xmlns:a16="http://schemas.microsoft.com/office/drawing/2014/main" id="{89DC657C-5AEA-0463-974F-9B484F5507F3}"/>
              </a:ext>
            </a:extLst>
          </p:cNvPr>
          <p:cNvSpPr>
            <a:spLocks noGrp="1"/>
          </p:cNvSpPr>
          <p:nvPr>
            <p:ph sz="quarter" idx="11" hasCustomPrompt="1"/>
          </p:nvPr>
        </p:nvSpPr>
        <p:spPr>
          <a:xfrm>
            <a:off x="274638" y="1436916"/>
            <a:ext cx="11647486" cy="5116917"/>
          </a:xfrm>
        </p:spPr>
        <p:txBody>
          <a:bodyPr lIns="9144" bIns="0"/>
          <a:lstStyle>
            <a:lvl1pPr>
              <a:spcBef>
                <a:spcPts val="1200"/>
              </a:spcBef>
              <a:spcAft>
                <a:spcPts val="1000"/>
              </a:spcAft>
              <a:defRPr sz="2400">
                <a:solidFill>
                  <a:schemeClr val="bg1"/>
                </a:solidFill>
              </a:defRPr>
            </a:lvl1pPr>
            <a:lvl2pPr>
              <a:spcAft>
                <a:spcPts val="1000"/>
              </a:spcAft>
              <a:defRPr sz="2400">
                <a:solidFill>
                  <a:schemeClr val="bg1"/>
                </a:solidFill>
              </a:defRPr>
            </a:lvl2pPr>
            <a:lvl3pPr>
              <a:spcAft>
                <a:spcPts val="1000"/>
              </a:spcAft>
              <a:defRPr>
                <a:solidFill>
                  <a:schemeClr val="bg1"/>
                </a:solidFill>
              </a:defRPr>
            </a:lvl3pPr>
            <a:lvl4pPr>
              <a:spcAft>
                <a:spcPts val="1000"/>
              </a:spcAft>
              <a:defRPr>
                <a:solidFill>
                  <a:schemeClr val="bg1"/>
                </a:solidFill>
              </a:defRPr>
            </a:lvl4pPr>
            <a:lvl5pPr>
              <a:spcAft>
                <a:spcPts val="1000"/>
              </a:spcAft>
              <a:defRPr>
                <a:solidFill>
                  <a:schemeClr val="bg1"/>
                </a:solidFill>
              </a:defRPr>
            </a:lvl5pPr>
          </a:lstStyle>
          <a:p>
            <a:pPr lvl="0"/>
            <a:r>
              <a:rPr lang="en-US" dirty="0"/>
              <a:t>Click to add text</a:t>
            </a:r>
          </a:p>
          <a:p>
            <a:pPr lvl="1"/>
            <a:r>
              <a:rPr lang="en-US" dirty="0"/>
              <a:t>Second </a:t>
            </a:r>
            <a:r>
              <a:rPr lang="en-US" dirty="0" err="1"/>
              <a:t>leveltest</a:t>
            </a:r>
            <a:endParaRPr lang="en-US" dirty="0"/>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48005892"/>
      </p:ext>
    </p:extLst>
  </p:cSld>
  <p:clrMapOvr>
    <a:masterClrMapping/>
  </p:clrMapOvr>
  <p:transition>
    <p:fade/>
  </p:transition>
  <p:hf hdr="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Blank (Black)">
    <p:bg>
      <p:bgPr>
        <a:solidFill>
          <a:schemeClr val="tx1"/>
        </a:solidFill>
        <a:effectLst/>
      </p:bgPr>
    </p:bg>
    <p:spTree>
      <p:nvGrpSpPr>
        <p:cNvPr id="1" name=""/>
        <p:cNvGrpSpPr/>
        <p:nvPr/>
      </p:nvGrpSpPr>
      <p:grpSpPr>
        <a:xfrm>
          <a:off x="0" y="0"/>
          <a:ext cx="0" cy="0"/>
          <a:chOff x="0" y="0"/>
          <a:chExt cx="0" cy="0"/>
        </a:xfrm>
      </p:grpSpPr>
      <p:sp>
        <p:nvSpPr>
          <p:cNvPr id="7" name="Slide Number Placeholder 5">
            <a:extLst>
              <a:ext uri="{FF2B5EF4-FFF2-40B4-BE49-F238E27FC236}">
                <a16:creationId xmlns:a16="http://schemas.microsoft.com/office/drawing/2014/main" id="{115F4446-5921-C54D-8A82-C927842323BC}"/>
              </a:ext>
            </a:extLst>
          </p:cNvPr>
          <p:cNvSpPr>
            <a:spLocks noGrp="1"/>
          </p:cNvSpPr>
          <p:nvPr>
            <p:ph type="sldNum" sz="quarter" idx="4"/>
          </p:nvPr>
        </p:nvSpPr>
        <p:spPr>
          <a:xfrm>
            <a:off x="274638" y="133411"/>
            <a:ext cx="211271" cy="120013"/>
          </a:xfrm>
          <a:prstGeom prst="rect">
            <a:avLst/>
          </a:prstGeom>
        </p:spPr>
        <p:txBody>
          <a:bodyPr vert="horz" lIns="0" tIns="0" rIns="0" bIns="0" rtlCol="0" anchor="ctr"/>
          <a:lstStyle>
            <a:lvl1pPr algn="l">
              <a:defRPr sz="500" b="1" i="0" spc="50" baseline="0">
                <a:solidFill>
                  <a:schemeClr val="bg1"/>
                </a:solidFill>
                <a:latin typeface="+mn-lt"/>
                <a:cs typeface="Arial" panose="020B0604020202020204" pitchFamily="34" charset="0"/>
              </a:defRPr>
            </a:lvl1pPr>
          </a:lstStyle>
          <a:p>
            <a:fld id="{4571BA12-316B-0A40-BB3D-1A8CDD33E9E5}" type="slidenum">
              <a:rPr lang="en-US" smtClean="0"/>
              <a:pPr/>
              <a:t>‹#›</a:t>
            </a:fld>
            <a:endParaRPr lang="en-US" dirty="0"/>
          </a:p>
        </p:txBody>
      </p:sp>
      <p:sp>
        <p:nvSpPr>
          <p:cNvPr id="8" name="SUHO LIMITED RELEASE…">
            <a:extLst>
              <a:ext uri="{FF2B5EF4-FFF2-40B4-BE49-F238E27FC236}">
                <a16:creationId xmlns:a16="http://schemas.microsoft.com/office/drawing/2014/main" id="{089ABED4-B2DF-B242-8E41-5AABF3122FDC}"/>
              </a:ext>
            </a:extLst>
          </p:cNvPr>
          <p:cNvSpPr txBox="1"/>
          <p:nvPr/>
        </p:nvSpPr>
        <p:spPr>
          <a:xfrm>
            <a:off x="6292066" y="141350"/>
            <a:ext cx="5625296" cy="915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chor="ctr">
            <a:spAutoFit/>
          </a:bodyPr>
          <a:lstStyle/>
          <a:p>
            <a:pPr algn="r">
              <a:lnSpc>
                <a:spcPts val="750"/>
              </a:lnSpc>
              <a:defRPr sz="1500" b="1" cap="all">
                <a:solidFill>
                  <a:srgbClr val="9F9F94"/>
                </a:solidFill>
              </a:defRPr>
            </a:pPr>
            <a:r>
              <a:rPr lang="en-US" sz="500" b="1" spc="50" baseline="0" dirty="0">
                <a:solidFill>
                  <a:schemeClr val="bg1"/>
                </a:solidFill>
                <a:latin typeface="+mn-lt"/>
                <a:ea typeface="Helvetica Neue" panose="02000503000000020004" pitchFamily="2" charset="0"/>
                <a:cs typeface="Arial" panose="020B0604020202020204" pitchFamily="34" charset="0"/>
              </a:rPr>
              <a:t>© 2022 Western Digital Corporation or its affiliates  All rights reserved</a:t>
            </a:r>
          </a:p>
        </p:txBody>
      </p:sp>
      <p:sp>
        <p:nvSpPr>
          <p:cNvPr id="9" name="SUHO LIMITED RELEASE…">
            <a:extLst>
              <a:ext uri="{FF2B5EF4-FFF2-40B4-BE49-F238E27FC236}">
                <a16:creationId xmlns:a16="http://schemas.microsoft.com/office/drawing/2014/main" id="{7AD33A5E-2435-AA40-9E59-38DFC78C649F}"/>
              </a:ext>
            </a:extLst>
          </p:cNvPr>
          <p:cNvSpPr txBox="1"/>
          <p:nvPr/>
        </p:nvSpPr>
        <p:spPr>
          <a:xfrm>
            <a:off x="542925" y="141286"/>
            <a:ext cx="1515387" cy="9156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chor="ctr">
            <a:spAutoFit/>
          </a:bodyPr>
          <a:lstStyle/>
          <a:p>
            <a:pPr algn="l">
              <a:lnSpc>
                <a:spcPts val="750"/>
              </a:lnSpc>
              <a:defRPr sz="1500" b="1" cap="all">
                <a:solidFill>
                  <a:srgbClr val="9F9F94"/>
                </a:solidFill>
              </a:defRPr>
            </a:pPr>
            <a:r>
              <a:rPr lang="en-US" sz="500" b="1" spc="50" baseline="0" dirty="0">
                <a:solidFill>
                  <a:schemeClr val="bg1"/>
                </a:solidFill>
                <a:latin typeface="+mn-lt"/>
                <a:ea typeface="Helvetica Neue" panose="02000503000000020004" pitchFamily="2" charset="0"/>
                <a:cs typeface="Arial" panose="020B0604020202020204" pitchFamily="34" charset="0"/>
              </a:rPr>
              <a:t>WESTERN DIGITAL CONFIDENTIAL</a:t>
            </a:r>
          </a:p>
        </p:txBody>
      </p:sp>
      <p:cxnSp>
        <p:nvCxnSpPr>
          <p:cNvPr id="16" name="Straight Connector 15">
            <a:extLst>
              <a:ext uri="{FF2B5EF4-FFF2-40B4-BE49-F238E27FC236}">
                <a16:creationId xmlns:a16="http://schemas.microsoft.com/office/drawing/2014/main" id="{CC92F3F7-3051-7541-8F15-2F6A953B3184}"/>
              </a:ext>
            </a:extLst>
          </p:cNvPr>
          <p:cNvCxnSpPr/>
          <p:nvPr/>
        </p:nvCxnSpPr>
        <p:spPr>
          <a:xfrm>
            <a:off x="0" y="365760"/>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00774778"/>
      </p:ext>
    </p:extLst>
  </p:cSld>
  <p:clrMapOvr>
    <a:masterClrMapping/>
  </p:clrMapOvr>
  <p:transition>
    <p:fade/>
  </p:transition>
  <p:hf hdr="0"/>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Closing Slide Logo and Tagline Black">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22E44547-3B98-F741-9F68-B834B3D16B8F}"/>
              </a:ext>
            </a:extLst>
          </p:cNvPr>
          <p:cNvSpPr/>
          <p:nvPr/>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 name="Group 1">
            <a:extLst>
              <a:ext uri="{FF2B5EF4-FFF2-40B4-BE49-F238E27FC236}">
                <a16:creationId xmlns:a16="http://schemas.microsoft.com/office/drawing/2014/main" id="{BF5148F3-7343-C24E-A616-A94C067D1AF4}"/>
              </a:ext>
            </a:extLst>
          </p:cNvPr>
          <p:cNvGrpSpPr/>
          <p:nvPr/>
        </p:nvGrpSpPr>
        <p:grpSpPr>
          <a:xfrm>
            <a:off x="2384164" y="2131511"/>
            <a:ext cx="7423673" cy="2278886"/>
            <a:chOff x="3403128" y="2131511"/>
            <a:chExt cx="7423673" cy="2278886"/>
          </a:xfrm>
        </p:grpSpPr>
        <p:grpSp>
          <p:nvGrpSpPr>
            <p:cNvPr id="97" name="Group 96">
              <a:extLst>
                <a:ext uri="{FF2B5EF4-FFF2-40B4-BE49-F238E27FC236}">
                  <a16:creationId xmlns:a16="http://schemas.microsoft.com/office/drawing/2014/main" id="{06CCB73E-62EA-B24F-867C-DA39FE0A51D8}"/>
                </a:ext>
              </a:extLst>
            </p:cNvPr>
            <p:cNvGrpSpPr/>
            <p:nvPr/>
          </p:nvGrpSpPr>
          <p:grpSpPr>
            <a:xfrm>
              <a:off x="6543122" y="4052037"/>
              <a:ext cx="4283679" cy="358360"/>
              <a:chOff x="6543122" y="4052037"/>
              <a:chExt cx="4283679" cy="358360"/>
            </a:xfrm>
            <a:solidFill>
              <a:schemeClr val="bg1"/>
            </a:solidFill>
          </p:grpSpPr>
          <p:grpSp>
            <p:nvGrpSpPr>
              <p:cNvPr id="98" name="Graphic 53">
                <a:extLst>
                  <a:ext uri="{FF2B5EF4-FFF2-40B4-BE49-F238E27FC236}">
                    <a16:creationId xmlns:a16="http://schemas.microsoft.com/office/drawing/2014/main" id="{26782BBB-F703-544A-B5CB-9469C4A08B8B}"/>
                  </a:ext>
                </a:extLst>
              </p:cNvPr>
              <p:cNvGrpSpPr/>
              <p:nvPr/>
            </p:nvGrpSpPr>
            <p:grpSpPr>
              <a:xfrm>
                <a:off x="8095457" y="4052037"/>
                <a:ext cx="1513841" cy="358360"/>
                <a:chOff x="3535278" y="4757698"/>
                <a:chExt cx="819023" cy="193881"/>
              </a:xfrm>
              <a:grpFill/>
            </p:grpSpPr>
            <p:sp>
              <p:nvSpPr>
                <p:cNvPr id="111" name="Freeform 110">
                  <a:extLst>
                    <a:ext uri="{FF2B5EF4-FFF2-40B4-BE49-F238E27FC236}">
                      <a16:creationId xmlns:a16="http://schemas.microsoft.com/office/drawing/2014/main" id="{8D3F4206-7EC6-0A41-9A11-D295993735A9}"/>
                    </a:ext>
                  </a:extLst>
                </p:cNvPr>
                <p:cNvSpPr/>
                <p:nvPr/>
              </p:nvSpPr>
              <p:spPr>
                <a:xfrm>
                  <a:off x="3535278" y="4763905"/>
                  <a:ext cx="289975" cy="186613"/>
                </a:xfrm>
                <a:custGeom>
                  <a:avLst/>
                  <a:gdLst>
                    <a:gd name="connsiteX0" fmla="*/ 144733 w 289975"/>
                    <a:gd name="connsiteY0" fmla="*/ 67318 h 186613"/>
                    <a:gd name="connsiteX1" fmla="*/ 99344 w 289975"/>
                    <a:gd name="connsiteY1" fmla="*/ 186451 h 186613"/>
                    <a:gd name="connsiteX2" fmla="*/ 99854 w 289975"/>
                    <a:gd name="connsiteY2" fmla="*/ 186247 h 186613"/>
                    <a:gd name="connsiteX3" fmla="*/ 83229 w 289975"/>
                    <a:gd name="connsiteY3" fmla="*/ 175537 h 186613"/>
                    <a:gd name="connsiteX4" fmla="*/ 26417 w 289975"/>
                    <a:gd name="connsiteY4" fmla="*/ 27539 h 186613"/>
                    <a:gd name="connsiteX5" fmla="*/ 2652 w 289975"/>
                    <a:gd name="connsiteY5" fmla="*/ 5202 h 186613"/>
                    <a:gd name="connsiteX6" fmla="*/ 0 w 289975"/>
                    <a:gd name="connsiteY6" fmla="*/ 2346 h 186613"/>
                    <a:gd name="connsiteX7" fmla="*/ 3264 w 289975"/>
                    <a:gd name="connsiteY7" fmla="*/ 204 h 186613"/>
                    <a:gd name="connsiteX8" fmla="*/ 56404 w 289975"/>
                    <a:gd name="connsiteY8" fmla="*/ 204 h 186613"/>
                    <a:gd name="connsiteX9" fmla="*/ 59872 w 289975"/>
                    <a:gd name="connsiteY9" fmla="*/ 2142 h 186613"/>
                    <a:gd name="connsiteX10" fmla="*/ 56812 w 289975"/>
                    <a:gd name="connsiteY10" fmla="*/ 5406 h 186613"/>
                    <a:gd name="connsiteX11" fmla="*/ 47326 w 289975"/>
                    <a:gd name="connsiteY11" fmla="*/ 25193 h 186613"/>
                    <a:gd name="connsiteX12" fmla="*/ 94857 w 289975"/>
                    <a:gd name="connsiteY12" fmla="*/ 150854 h 186613"/>
                    <a:gd name="connsiteX13" fmla="*/ 99242 w 289975"/>
                    <a:gd name="connsiteY13" fmla="*/ 160645 h 186613"/>
                    <a:gd name="connsiteX14" fmla="*/ 103322 w 289975"/>
                    <a:gd name="connsiteY14" fmla="*/ 153710 h 186613"/>
                    <a:gd name="connsiteX15" fmla="*/ 136267 w 289975"/>
                    <a:gd name="connsiteY15" fmla="*/ 68746 h 186613"/>
                    <a:gd name="connsiteX16" fmla="*/ 136471 w 289975"/>
                    <a:gd name="connsiteY16" fmla="*/ 46307 h 186613"/>
                    <a:gd name="connsiteX17" fmla="*/ 125659 w 289975"/>
                    <a:gd name="connsiteY17" fmla="*/ 20297 h 186613"/>
                    <a:gd name="connsiteX18" fmla="*/ 106994 w 289975"/>
                    <a:gd name="connsiteY18" fmla="*/ 5406 h 186613"/>
                    <a:gd name="connsiteX19" fmla="*/ 102098 w 289975"/>
                    <a:gd name="connsiteY19" fmla="*/ 2244 h 186613"/>
                    <a:gd name="connsiteX20" fmla="*/ 103118 w 289975"/>
                    <a:gd name="connsiteY20" fmla="*/ 102 h 186613"/>
                    <a:gd name="connsiteX21" fmla="*/ 159420 w 289975"/>
                    <a:gd name="connsiteY21" fmla="*/ 204 h 186613"/>
                    <a:gd name="connsiteX22" fmla="*/ 162786 w 289975"/>
                    <a:gd name="connsiteY22" fmla="*/ 2244 h 186613"/>
                    <a:gd name="connsiteX23" fmla="*/ 159522 w 289975"/>
                    <a:gd name="connsiteY23" fmla="*/ 5304 h 186613"/>
                    <a:gd name="connsiteX24" fmla="*/ 150036 w 289975"/>
                    <a:gd name="connsiteY24" fmla="*/ 25397 h 186613"/>
                    <a:gd name="connsiteX25" fmla="*/ 198383 w 289975"/>
                    <a:gd name="connsiteY25" fmla="*/ 152180 h 186613"/>
                    <a:gd name="connsiteX26" fmla="*/ 202360 w 289975"/>
                    <a:gd name="connsiteY26" fmla="*/ 160543 h 186613"/>
                    <a:gd name="connsiteX27" fmla="*/ 206440 w 289975"/>
                    <a:gd name="connsiteY27" fmla="*/ 153404 h 186613"/>
                    <a:gd name="connsiteX28" fmla="*/ 255398 w 289975"/>
                    <a:gd name="connsiteY28" fmla="*/ 25397 h 186613"/>
                    <a:gd name="connsiteX29" fmla="*/ 244281 w 289975"/>
                    <a:gd name="connsiteY29" fmla="*/ 6018 h 186613"/>
                    <a:gd name="connsiteX30" fmla="*/ 238161 w 289975"/>
                    <a:gd name="connsiteY30" fmla="*/ 0 h 186613"/>
                    <a:gd name="connsiteX31" fmla="*/ 287119 w 289975"/>
                    <a:gd name="connsiteY31" fmla="*/ 102 h 186613"/>
                    <a:gd name="connsiteX32" fmla="*/ 289975 w 289975"/>
                    <a:gd name="connsiteY32" fmla="*/ 2040 h 186613"/>
                    <a:gd name="connsiteX33" fmla="*/ 287527 w 289975"/>
                    <a:gd name="connsiteY33" fmla="*/ 5202 h 186613"/>
                    <a:gd name="connsiteX34" fmla="*/ 282530 w 289975"/>
                    <a:gd name="connsiteY34" fmla="*/ 6630 h 186613"/>
                    <a:gd name="connsiteX35" fmla="*/ 265598 w 289975"/>
                    <a:gd name="connsiteY35" fmla="*/ 21725 h 186613"/>
                    <a:gd name="connsiteX36" fmla="*/ 207562 w 289975"/>
                    <a:gd name="connsiteY36" fmla="*/ 172885 h 186613"/>
                    <a:gd name="connsiteX37" fmla="*/ 203788 w 289975"/>
                    <a:gd name="connsiteY37" fmla="*/ 186349 h 186613"/>
                    <a:gd name="connsiteX38" fmla="*/ 193283 w 289975"/>
                    <a:gd name="connsiteY38" fmla="*/ 186145 h 186613"/>
                    <a:gd name="connsiteX39" fmla="*/ 188183 w 289975"/>
                    <a:gd name="connsiteY39" fmla="*/ 180637 h 186613"/>
                    <a:gd name="connsiteX40" fmla="*/ 147690 w 289975"/>
                    <a:gd name="connsiteY40" fmla="*/ 74764 h 186613"/>
                    <a:gd name="connsiteX41" fmla="*/ 144733 w 289975"/>
                    <a:gd name="connsiteY41" fmla="*/ 67318 h 186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89975" h="186613">
                      <a:moveTo>
                        <a:pt x="144733" y="67318"/>
                      </a:moveTo>
                      <a:cubicBezTo>
                        <a:pt x="129331" y="107811"/>
                        <a:pt x="114542" y="146570"/>
                        <a:pt x="99344" y="186451"/>
                      </a:cubicBezTo>
                      <a:cubicBezTo>
                        <a:pt x="100670" y="185941"/>
                        <a:pt x="100262" y="186145"/>
                        <a:pt x="99854" y="186247"/>
                      </a:cubicBezTo>
                      <a:cubicBezTo>
                        <a:pt x="87615" y="186961"/>
                        <a:pt x="87513" y="186961"/>
                        <a:pt x="83229" y="175537"/>
                      </a:cubicBezTo>
                      <a:cubicBezTo>
                        <a:pt x="64258" y="126170"/>
                        <a:pt x="45388" y="76804"/>
                        <a:pt x="26417" y="27539"/>
                      </a:cubicBezTo>
                      <a:cubicBezTo>
                        <a:pt x="22133" y="16320"/>
                        <a:pt x="16523" y="6426"/>
                        <a:pt x="2652" y="5202"/>
                      </a:cubicBezTo>
                      <a:cubicBezTo>
                        <a:pt x="1734" y="5100"/>
                        <a:pt x="918" y="3366"/>
                        <a:pt x="0" y="2346"/>
                      </a:cubicBezTo>
                      <a:cubicBezTo>
                        <a:pt x="1122" y="1632"/>
                        <a:pt x="2244" y="204"/>
                        <a:pt x="3264" y="204"/>
                      </a:cubicBezTo>
                      <a:cubicBezTo>
                        <a:pt x="21011" y="102"/>
                        <a:pt x="38656" y="102"/>
                        <a:pt x="56404" y="204"/>
                      </a:cubicBezTo>
                      <a:cubicBezTo>
                        <a:pt x="57628" y="204"/>
                        <a:pt x="58750" y="1428"/>
                        <a:pt x="59872" y="2142"/>
                      </a:cubicBezTo>
                      <a:cubicBezTo>
                        <a:pt x="58852" y="3264"/>
                        <a:pt x="58036" y="4998"/>
                        <a:pt x="56812" y="5406"/>
                      </a:cubicBezTo>
                      <a:cubicBezTo>
                        <a:pt x="41818" y="10506"/>
                        <a:pt x="41818" y="10506"/>
                        <a:pt x="47326" y="25193"/>
                      </a:cubicBezTo>
                      <a:cubicBezTo>
                        <a:pt x="63136" y="67114"/>
                        <a:pt x="78945" y="108933"/>
                        <a:pt x="94857" y="150854"/>
                      </a:cubicBezTo>
                      <a:cubicBezTo>
                        <a:pt x="95876" y="153608"/>
                        <a:pt x="97304" y="156259"/>
                        <a:pt x="99242" y="160645"/>
                      </a:cubicBezTo>
                      <a:cubicBezTo>
                        <a:pt x="101180" y="157483"/>
                        <a:pt x="102608" y="155749"/>
                        <a:pt x="103322" y="153710"/>
                      </a:cubicBezTo>
                      <a:cubicBezTo>
                        <a:pt x="114338" y="125456"/>
                        <a:pt x="125251" y="97101"/>
                        <a:pt x="136267" y="68746"/>
                      </a:cubicBezTo>
                      <a:cubicBezTo>
                        <a:pt x="139123" y="61300"/>
                        <a:pt x="139225" y="53651"/>
                        <a:pt x="136471" y="46307"/>
                      </a:cubicBezTo>
                      <a:cubicBezTo>
                        <a:pt x="133207" y="37535"/>
                        <a:pt x="129535" y="28865"/>
                        <a:pt x="125659" y="20297"/>
                      </a:cubicBezTo>
                      <a:cubicBezTo>
                        <a:pt x="121987" y="12240"/>
                        <a:pt x="115868" y="7038"/>
                        <a:pt x="106994" y="5406"/>
                      </a:cubicBezTo>
                      <a:cubicBezTo>
                        <a:pt x="105260" y="5100"/>
                        <a:pt x="103730" y="3366"/>
                        <a:pt x="102098" y="2244"/>
                      </a:cubicBezTo>
                      <a:cubicBezTo>
                        <a:pt x="102404" y="1530"/>
                        <a:pt x="102812" y="816"/>
                        <a:pt x="103118" y="102"/>
                      </a:cubicBezTo>
                      <a:cubicBezTo>
                        <a:pt x="121886" y="102"/>
                        <a:pt x="140653" y="102"/>
                        <a:pt x="159420" y="204"/>
                      </a:cubicBezTo>
                      <a:cubicBezTo>
                        <a:pt x="160542" y="204"/>
                        <a:pt x="161664" y="1530"/>
                        <a:pt x="162786" y="2244"/>
                      </a:cubicBezTo>
                      <a:cubicBezTo>
                        <a:pt x="161766" y="3264"/>
                        <a:pt x="160848" y="4896"/>
                        <a:pt x="159522" y="5304"/>
                      </a:cubicBezTo>
                      <a:cubicBezTo>
                        <a:pt x="144733" y="10098"/>
                        <a:pt x="144427" y="10710"/>
                        <a:pt x="150036" y="25397"/>
                      </a:cubicBezTo>
                      <a:cubicBezTo>
                        <a:pt x="166152" y="67624"/>
                        <a:pt x="182267" y="109953"/>
                        <a:pt x="198383" y="152180"/>
                      </a:cubicBezTo>
                      <a:cubicBezTo>
                        <a:pt x="199301" y="154525"/>
                        <a:pt x="200524" y="156769"/>
                        <a:pt x="202360" y="160543"/>
                      </a:cubicBezTo>
                      <a:cubicBezTo>
                        <a:pt x="204298" y="157177"/>
                        <a:pt x="205624" y="155443"/>
                        <a:pt x="206440" y="153404"/>
                      </a:cubicBezTo>
                      <a:cubicBezTo>
                        <a:pt x="222760" y="110769"/>
                        <a:pt x="239079" y="68134"/>
                        <a:pt x="255398" y="25397"/>
                      </a:cubicBezTo>
                      <a:cubicBezTo>
                        <a:pt x="259580" y="14280"/>
                        <a:pt x="256418" y="9282"/>
                        <a:pt x="244281" y="6018"/>
                      </a:cubicBezTo>
                      <a:cubicBezTo>
                        <a:pt x="241731" y="5304"/>
                        <a:pt x="236223" y="6936"/>
                        <a:pt x="238161" y="0"/>
                      </a:cubicBezTo>
                      <a:cubicBezTo>
                        <a:pt x="254481" y="0"/>
                        <a:pt x="270800" y="0"/>
                        <a:pt x="287119" y="102"/>
                      </a:cubicBezTo>
                      <a:cubicBezTo>
                        <a:pt x="288037" y="102"/>
                        <a:pt x="289057" y="1326"/>
                        <a:pt x="289975" y="2040"/>
                      </a:cubicBezTo>
                      <a:cubicBezTo>
                        <a:pt x="289159" y="3162"/>
                        <a:pt x="288547" y="4590"/>
                        <a:pt x="287527" y="5202"/>
                      </a:cubicBezTo>
                      <a:cubicBezTo>
                        <a:pt x="285997" y="6018"/>
                        <a:pt x="284161" y="6222"/>
                        <a:pt x="282530" y="6630"/>
                      </a:cubicBezTo>
                      <a:cubicBezTo>
                        <a:pt x="274268" y="8772"/>
                        <a:pt x="268658" y="13770"/>
                        <a:pt x="265598" y="21725"/>
                      </a:cubicBezTo>
                      <a:cubicBezTo>
                        <a:pt x="246219" y="72112"/>
                        <a:pt x="226840" y="122498"/>
                        <a:pt x="207562" y="172885"/>
                      </a:cubicBezTo>
                      <a:cubicBezTo>
                        <a:pt x="206032" y="176965"/>
                        <a:pt x="205216" y="181249"/>
                        <a:pt x="203788" y="186349"/>
                      </a:cubicBezTo>
                      <a:cubicBezTo>
                        <a:pt x="200524" y="186349"/>
                        <a:pt x="196751" y="187063"/>
                        <a:pt x="193283" y="186145"/>
                      </a:cubicBezTo>
                      <a:cubicBezTo>
                        <a:pt x="191243" y="185533"/>
                        <a:pt x="189101" y="182881"/>
                        <a:pt x="188183" y="180637"/>
                      </a:cubicBezTo>
                      <a:cubicBezTo>
                        <a:pt x="174515" y="145346"/>
                        <a:pt x="161154" y="110055"/>
                        <a:pt x="147690" y="74764"/>
                      </a:cubicBezTo>
                      <a:cubicBezTo>
                        <a:pt x="146976" y="72826"/>
                        <a:pt x="146160" y="70990"/>
                        <a:pt x="144733" y="67318"/>
                      </a:cubicBezTo>
                      <a:close/>
                    </a:path>
                  </a:pathLst>
                </a:custGeom>
                <a:grpFill/>
                <a:ln w="1018" cap="flat">
                  <a:noFill/>
                  <a:prstDash val="solid"/>
                  <a:miter/>
                </a:ln>
              </p:spPr>
              <p:txBody>
                <a:bodyPr rtlCol="0" anchor="ctr"/>
                <a:lstStyle/>
                <a:p>
                  <a:endParaRPr lang="en-US"/>
                </a:p>
              </p:txBody>
            </p:sp>
            <p:sp>
              <p:nvSpPr>
                <p:cNvPr id="112" name="Freeform 111">
                  <a:extLst>
                    <a:ext uri="{FF2B5EF4-FFF2-40B4-BE49-F238E27FC236}">
                      <a16:creationId xmlns:a16="http://schemas.microsoft.com/office/drawing/2014/main" id="{BF7A31D9-0780-BA47-A306-B18813285392}"/>
                    </a:ext>
                  </a:extLst>
                </p:cNvPr>
                <p:cNvSpPr/>
                <p:nvPr/>
              </p:nvSpPr>
              <p:spPr>
                <a:xfrm>
                  <a:off x="3809954" y="4757698"/>
                  <a:ext cx="149322" cy="193783"/>
                </a:xfrm>
                <a:custGeom>
                  <a:avLst/>
                  <a:gdLst>
                    <a:gd name="connsiteX0" fmla="*/ 149323 w 149322"/>
                    <a:gd name="connsiteY0" fmla="*/ 184804 h 193783"/>
                    <a:gd name="connsiteX1" fmla="*/ 124844 w 149322"/>
                    <a:gd name="connsiteY1" fmla="*/ 193066 h 193783"/>
                    <a:gd name="connsiteX2" fmla="*/ 114542 w 149322"/>
                    <a:gd name="connsiteY2" fmla="*/ 176644 h 193783"/>
                    <a:gd name="connsiteX3" fmla="*/ 114338 w 149322"/>
                    <a:gd name="connsiteY3" fmla="*/ 112386 h 193783"/>
                    <a:gd name="connsiteX4" fmla="*/ 111686 w 149322"/>
                    <a:gd name="connsiteY4" fmla="*/ 91681 h 193783"/>
                    <a:gd name="connsiteX5" fmla="*/ 84249 w 149322"/>
                    <a:gd name="connsiteY5" fmla="*/ 66895 h 193783"/>
                    <a:gd name="connsiteX6" fmla="*/ 46816 w 149322"/>
                    <a:gd name="connsiteY6" fmla="*/ 82807 h 193783"/>
                    <a:gd name="connsiteX7" fmla="*/ 39575 w 149322"/>
                    <a:gd name="connsiteY7" fmla="*/ 106164 h 193783"/>
                    <a:gd name="connsiteX8" fmla="*/ 39065 w 149322"/>
                    <a:gd name="connsiteY8" fmla="*/ 173074 h 193783"/>
                    <a:gd name="connsiteX9" fmla="*/ 48754 w 149322"/>
                    <a:gd name="connsiteY9" fmla="*/ 185212 h 193783"/>
                    <a:gd name="connsiteX10" fmla="*/ 55078 w 149322"/>
                    <a:gd name="connsiteY10" fmla="*/ 186640 h 193783"/>
                    <a:gd name="connsiteX11" fmla="*/ 58444 w 149322"/>
                    <a:gd name="connsiteY11" fmla="*/ 189700 h 193783"/>
                    <a:gd name="connsiteX12" fmla="*/ 54568 w 149322"/>
                    <a:gd name="connsiteY12" fmla="*/ 191842 h 193783"/>
                    <a:gd name="connsiteX13" fmla="*/ 25703 w 149322"/>
                    <a:gd name="connsiteY13" fmla="*/ 191944 h 193783"/>
                    <a:gd name="connsiteX14" fmla="*/ 1530 w 149322"/>
                    <a:gd name="connsiteY14" fmla="*/ 191944 h 193783"/>
                    <a:gd name="connsiteX15" fmla="*/ 510 w 149322"/>
                    <a:gd name="connsiteY15" fmla="*/ 190006 h 193783"/>
                    <a:gd name="connsiteX16" fmla="*/ 4692 w 149322"/>
                    <a:gd name="connsiteY16" fmla="*/ 186538 h 193783"/>
                    <a:gd name="connsiteX17" fmla="*/ 20297 w 149322"/>
                    <a:gd name="connsiteY17" fmla="*/ 166445 h 193783"/>
                    <a:gd name="connsiteX18" fmla="*/ 20297 w 149322"/>
                    <a:gd name="connsiteY18" fmla="*/ 37826 h 193783"/>
                    <a:gd name="connsiteX19" fmla="*/ 20297 w 149322"/>
                    <a:gd name="connsiteY19" fmla="*/ 28443 h 193783"/>
                    <a:gd name="connsiteX20" fmla="*/ 3876 w 149322"/>
                    <a:gd name="connsiteY20" fmla="*/ 11613 h 193783"/>
                    <a:gd name="connsiteX21" fmla="*/ 0 w 149322"/>
                    <a:gd name="connsiteY21" fmla="*/ 9573 h 193783"/>
                    <a:gd name="connsiteX22" fmla="*/ 4794 w 149322"/>
                    <a:gd name="connsiteY22" fmla="*/ 6411 h 193783"/>
                    <a:gd name="connsiteX23" fmla="*/ 27029 w 149322"/>
                    <a:gd name="connsiteY23" fmla="*/ 801 h 193783"/>
                    <a:gd name="connsiteX24" fmla="*/ 39065 w 149322"/>
                    <a:gd name="connsiteY24" fmla="*/ 10389 h 193783"/>
                    <a:gd name="connsiteX25" fmla="*/ 39167 w 149322"/>
                    <a:gd name="connsiteY25" fmla="*/ 64346 h 193783"/>
                    <a:gd name="connsiteX26" fmla="*/ 40697 w 149322"/>
                    <a:gd name="connsiteY26" fmla="*/ 78319 h 193783"/>
                    <a:gd name="connsiteX27" fmla="*/ 49060 w 149322"/>
                    <a:gd name="connsiteY27" fmla="*/ 71485 h 193783"/>
                    <a:gd name="connsiteX28" fmla="*/ 84351 w 149322"/>
                    <a:gd name="connsiteY28" fmla="*/ 54656 h 193783"/>
                    <a:gd name="connsiteX29" fmla="*/ 132493 w 149322"/>
                    <a:gd name="connsiteY29" fmla="*/ 94537 h 193783"/>
                    <a:gd name="connsiteX30" fmla="*/ 133207 w 149322"/>
                    <a:gd name="connsiteY30" fmla="*/ 136457 h 193783"/>
                    <a:gd name="connsiteX31" fmla="*/ 133207 w 149322"/>
                    <a:gd name="connsiteY31" fmla="*/ 171850 h 193783"/>
                    <a:gd name="connsiteX32" fmla="*/ 145345 w 149322"/>
                    <a:gd name="connsiteY32" fmla="*/ 184192 h 193783"/>
                    <a:gd name="connsiteX33" fmla="*/ 149323 w 149322"/>
                    <a:gd name="connsiteY33" fmla="*/ 184804 h 193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49322" h="193783">
                      <a:moveTo>
                        <a:pt x="149323" y="184804"/>
                      </a:moveTo>
                      <a:cubicBezTo>
                        <a:pt x="144427" y="191842"/>
                        <a:pt x="133105" y="195412"/>
                        <a:pt x="124844" y="193066"/>
                      </a:cubicBezTo>
                      <a:cubicBezTo>
                        <a:pt x="118316" y="191230"/>
                        <a:pt x="114644" y="185926"/>
                        <a:pt x="114542" y="176644"/>
                      </a:cubicBezTo>
                      <a:cubicBezTo>
                        <a:pt x="114338" y="155225"/>
                        <a:pt x="114644" y="133806"/>
                        <a:pt x="114338" y="112386"/>
                      </a:cubicBezTo>
                      <a:cubicBezTo>
                        <a:pt x="114236" y="105450"/>
                        <a:pt x="113522" y="98311"/>
                        <a:pt x="111686" y="91681"/>
                      </a:cubicBezTo>
                      <a:cubicBezTo>
                        <a:pt x="107912" y="77911"/>
                        <a:pt x="98936" y="68935"/>
                        <a:pt x="84249" y="66895"/>
                      </a:cubicBezTo>
                      <a:cubicBezTo>
                        <a:pt x="68644" y="64754"/>
                        <a:pt x="55078" y="68935"/>
                        <a:pt x="46816" y="82807"/>
                      </a:cubicBezTo>
                      <a:cubicBezTo>
                        <a:pt x="42737" y="89641"/>
                        <a:pt x="39881" y="98209"/>
                        <a:pt x="39575" y="106164"/>
                      </a:cubicBezTo>
                      <a:cubicBezTo>
                        <a:pt x="38555" y="128400"/>
                        <a:pt x="39167" y="150737"/>
                        <a:pt x="39065" y="173074"/>
                      </a:cubicBezTo>
                      <a:cubicBezTo>
                        <a:pt x="39065" y="179806"/>
                        <a:pt x="42533" y="183580"/>
                        <a:pt x="48754" y="185212"/>
                      </a:cubicBezTo>
                      <a:cubicBezTo>
                        <a:pt x="50896" y="185722"/>
                        <a:pt x="53140" y="185824"/>
                        <a:pt x="55078" y="186640"/>
                      </a:cubicBezTo>
                      <a:cubicBezTo>
                        <a:pt x="56404" y="187150"/>
                        <a:pt x="57322" y="188680"/>
                        <a:pt x="58444" y="189700"/>
                      </a:cubicBezTo>
                      <a:cubicBezTo>
                        <a:pt x="57118" y="190414"/>
                        <a:pt x="55894" y="191842"/>
                        <a:pt x="54568" y="191842"/>
                      </a:cubicBezTo>
                      <a:cubicBezTo>
                        <a:pt x="44980" y="192046"/>
                        <a:pt x="35291" y="191944"/>
                        <a:pt x="25703" y="191944"/>
                      </a:cubicBezTo>
                      <a:cubicBezTo>
                        <a:pt x="17645" y="191944"/>
                        <a:pt x="9588" y="191944"/>
                        <a:pt x="1530" y="191944"/>
                      </a:cubicBezTo>
                      <a:cubicBezTo>
                        <a:pt x="1224" y="191332"/>
                        <a:pt x="816" y="190618"/>
                        <a:pt x="510" y="190006"/>
                      </a:cubicBezTo>
                      <a:cubicBezTo>
                        <a:pt x="1938" y="188782"/>
                        <a:pt x="3162" y="186946"/>
                        <a:pt x="4692" y="186538"/>
                      </a:cubicBezTo>
                      <a:cubicBezTo>
                        <a:pt x="19481" y="182662"/>
                        <a:pt x="20297" y="181846"/>
                        <a:pt x="20297" y="166445"/>
                      </a:cubicBezTo>
                      <a:cubicBezTo>
                        <a:pt x="20297" y="120750"/>
                        <a:pt x="20297" y="83521"/>
                        <a:pt x="20297" y="37826"/>
                      </a:cubicBezTo>
                      <a:cubicBezTo>
                        <a:pt x="20297" y="35888"/>
                        <a:pt x="20297" y="30381"/>
                        <a:pt x="20297" y="28443"/>
                      </a:cubicBezTo>
                      <a:cubicBezTo>
                        <a:pt x="19991" y="14367"/>
                        <a:pt x="17747" y="12123"/>
                        <a:pt x="3876" y="11613"/>
                      </a:cubicBezTo>
                      <a:cubicBezTo>
                        <a:pt x="2856" y="11613"/>
                        <a:pt x="1836" y="11307"/>
                        <a:pt x="0" y="9573"/>
                      </a:cubicBezTo>
                      <a:cubicBezTo>
                        <a:pt x="1632" y="8451"/>
                        <a:pt x="3060" y="6921"/>
                        <a:pt x="4794" y="6411"/>
                      </a:cubicBezTo>
                      <a:cubicBezTo>
                        <a:pt x="12138" y="4371"/>
                        <a:pt x="19583" y="2637"/>
                        <a:pt x="27029" y="801"/>
                      </a:cubicBezTo>
                      <a:cubicBezTo>
                        <a:pt x="36107" y="-1443"/>
                        <a:pt x="39065" y="801"/>
                        <a:pt x="39065" y="10389"/>
                      </a:cubicBezTo>
                      <a:cubicBezTo>
                        <a:pt x="39167" y="30075"/>
                        <a:pt x="39065" y="44762"/>
                        <a:pt x="39167" y="64346"/>
                      </a:cubicBezTo>
                      <a:cubicBezTo>
                        <a:pt x="39167" y="68323"/>
                        <a:pt x="39983" y="72301"/>
                        <a:pt x="40697" y="78319"/>
                      </a:cubicBezTo>
                      <a:cubicBezTo>
                        <a:pt x="44573" y="75157"/>
                        <a:pt x="47020" y="73525"/>
                        <a:pt x="49060" y="71485"/>
                      </a:cubicBezTo>
                      <a:cubicBezTo>
                        <a:pt x="58954" y="61898"/>
                        <a:pt x="70377" y="55778"/>
                        <a:pt x="84351" y="54656"/>
                      </a:cubicBezTo>
                      <a:cubicBezTo>
                        <a:pt x="110360" y="52412"/>
                        <a:pt x="130249" y="68323"/>
                        <a:pt x="132493" y="94537"/>
                      </a:cubicBezTo>
                      <a:cubicBezTo>
                        <a:pt x="133717" y="108408"/>
                        <a:pt x="133105" y="122484"/>
                        <a:pt x="133207" y="136457"/>
                      </a:cubicBezTo>
                      <a:cubicBezTo>
                        <a:pt x="133309" y="148289"/>
                        <a:pt x="133207" y="160121"/>
                        <a:pt x="133207" y="171850"/>
                      </a:cubicBezTo>
                      <a:cubicBezTo>
                        <a:pt x="133309" y="182356"/>
                        <a:pt x="135043" y="184090"/>
                        <a:pt x="145345" y="184192"/>
                      </a:cubicBezTo>
                      <a:cubicBezTo>
                        <a:pt x="146365" y="184498"/>
                        <a:pt x="147385" y="184702"/>
                        <a:pt x="149323" y="184804"/>
                      </a:cubicBezTo>
                      <a:close/>
                    </a:path>
                  </a:pathLst>
                </a:custGeom>
                <a:grpFill/>
                <a:ln w="1018" cap="flat">
                  <a:noFill/>
                  <a:prstDash val="solid"/>
                  <a:miter/>
                </a:ln>
              </p:spPr>
              <p:txBody>
                <a:bodyPr rtlCol="0" anchor="ctr"/>
                <a:lstStyle/>
                <a:p>
                  <a:endParaRPr lang="en-US"/>
                </a:p>
              </p:txBody>
            </p:sp>
            <p:sp>
              <p:nvSpPr>
                <p:cNvPr id="113" name="Freeform 112">
                  <a:extLst>
                    <a:ext uri="{FF2B5EF4-FFF2-40B4-BE49-F238E27FC236}">
                      <a16:creationId xmlns:a16="http://schemas.microsoft.com/office/drawing/2014/main" id="{32E447AF-DAB7-CF48-AD7F-8ADEB7721DDC}"/>
                    </a:ext>
                  </a:extLst>
                </p:cNvPr>
                <p:cNvSpPr/>
                <p:nvPr/>
              </p:nvSpPr>
              <p:spPr>
                <a:xfrm>
                  <a:off x="3979348" y="4811671"/>
                  <a:ext cx="128537" cy="139866"/>
                </a:xfrm>
                <a:custGeom>
                  <a:avLst/>
                  <a:gdLst>
                    <a:gd name="connsiteX0" fmla="*/ 128537 w 128537"/>
                    <a:gd name="connsiteY0" fmla="*/ 131443 h 139866"/>
                    <a:gd name="connsiteX1" fmla="*/ 105282 w 128537"/>
                    <a:gd name="connsiteY1" fmla="*/ 139194 h 139866"/>
                    <a:gd name="connsiteX2" fmla="*/ 92737 w 128537"/>
                    <a:gd name="connsiteY2" fmla="*/ 115531 h 139866"/>
                    <a:gd name="connsiteX3" fmla="*/ 87127 w 128537"/>
                    <a:gd name="connsiteY3" fmla="*/ 120529 h 139866"/>
                    <a:gd name="connsiteX4" fmla="*/ 25521 w 128537"/>
                    <a:gd name="connsiteY4" fmla="*/ 138072 h 139866"/>
                    <a:gd name="connsiteX5" fmla="*/ 940 w 128537"/>
                    <a:gd name="connsiteY5" fmla="*/ 114613 h 139866"/>
                    <a:gd name="connsiteX6" fmla="*/ 12772 w 128537"/>
                    <a:gd name="connsiteY6" fmla="*/ 80036 h 139866"/>
                    <a:gd name="connsiteX7" fmla="*/ 54896 w 128537"/>
                    <a:gd name="connsiteY7" fmla="*/ 63105 h 139866"/>
                    <a:gd name="connsiteX8" fmla="*/ 86617 w 128537"/>
                    <a:gd name="connsiteY8" fmla="*/ 58209 h 139866"/>
                    <a:gd name="connsiteX9" fmla="*/ 93859 w 128537"/>
                    <a:gd name="connsiteY9" fmla="*/ 50049 h 139866"/>
                    <a:gd name="connsiteX10" fmla="*/ 93859 w 128537"/>
                    <a:gd name="connsiteY10" fmla="*/ 44133 h 139866"/>
                    <a:gd name="connsiteX11" fmla="*/ 45716 w 128537"/>
                    <a:gd name="connsiteY11" fmla="*/ 7720 h 139866"/>
                    <a:gd name="connsiteX12" fmla="*/ 29805 w 128537"/>
                    <a:gd name="connsiteY12" fmla="*/ 26692 h 139866"/>
                    <a:gd name="connsiteX13" fmla="*/ 29193 w 128537"/>
                    <a:gd name="connsiteY13" fmla="*/ 33831 h 139866"/>
                    <a:gd name="connsiteX14" fmla="*/ 18585 w 128537"/>
                    <a:gd name="connsiteY14" fmla="*/ 43317 h 139866"/>
                    <a:gd name="connsiteX15" fmla="*/ 9508 w 128537"/>
                    <a:gd name="connsiteY15" fmla="*/ 33016 h 139866"/>
                    <a:gd name="connsiteX16" fmla="*/ 18789 w 128537"/>
                    <a:gd name="connsiteY16" fmla="*/ 12004 h 139866"/>
                    <a:gd name="connsiteX17" fmla="*/ 37659 w 128537"/>
                    <a:gd name="connsiteY17" fmla="*/ 3334 h 139866"/>
                    <a:gd name="connsiteX18" fmla="*/ 79273 w 128537"/>
                    <a:gd name="connsiteY18" fmla="*/ 1498 h 139866"/>
                    <a:gd name="connsiteX19" fmla="*/ 111198 w 128537"/>
                    <a:gd name="connsiteY19" fmla="*/ 33219 h 139866"/>
                    <a:gd name="connsiteX20" fmla="*/ 112422 w 128537"/>
                    <a:gd name="connsiteY20" fmla="*/ 49539 h 139866"/>
                    <a:gd name="connsiteX21" fmla="*/ 112524 w 128537"/>
                    <a:gd name="connsiteY21" fmla="*/ 116449 h 139866"/>
                    <a:gd name="connsiteX22" fmla="*/ 126191 w 128537"/>
                    <a:gd name="connsiteY22" fmla="*/ 130627 h 139866"/>
                    <a:gd name="connsiteX23" fmla="*/ 128537 w 128537"/>
                    <a:gd name="connsiteY23" fmla="*/ 131443 h 139866"/>
                    <a:gd name="connsiteX24" fmla="*/ 93961 w 128537"/>
                    <a:gd name="connsiteY24" fmla="*/ 84014 h 139866"/>
                    <a:gd name="connsiteX25" fmla="*/ 93961 w 128537"/>
                    <a:gd name="connsiteY25" fmla="*/ 83402 h 139866"/>
                    <a:gd name="connsiteX26" fmla="*/ 73459 w 128537"/>
                    <a:gd name="connsiteY26" fmla="*/ 65858 h 139866"/>
                    <a:gd name="connsiteX27" fmla="*/ 31947 w 128537"/>
                    <a:gd name="connsiteY27" fmla="*/ 80648 h 139866"/>
                    <a:gd name="connsiteX28" fmla="*/ 21951 w 128537"/>
                    <a:gd name="connsiteY28" fmla="*/ 110329 h 139866"/>
                    <a:gd name="connsiteX29" fmla="*/ 46430 w 128537"/>
                    <a:gd name="connsiteY29" fmla="*/ 128791 h 139866"/>
                    <a:gd name="connsiteX30" fmla="*/ 93961 w 128537"/>
                    <a:gd name="connsiteY30" fmla="*/ 84014 h 139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28537" h="139866">
                      <a:moveTo>
                        <a:pt x="128537" y="131443"/>
                      </a:moveTo>
                      <a:cubicBezTo>
                        <a:pt x="123540" y="137868"/>
                        <a:pt x="113034" y="141438"/>
                        <a:pt x="105282" y="139194"/>
                      </a:cubicBezTo>
                      <a:cubicBezTo>
                        <a:pt x="94063" y="135930"/>
                        <a:pt x="94165" y="125935"/>
                        <a:pt x="92737" y="115531"/>
                      </a:cubicBezTo>
                      <a:cubicBezTo>
                        <a:pt x="90391" y="117673"/>
                        <a:pt x="88759" y="119101"/>
                        <a:pt x="87127" y="120529"/>
                      </a:cubicBezTo>
                      <a:cubicBezTo>
                        <a:pt x="69583" y="137052"/>
                        <a:pt x="48980" y="142968"/>
                        <a:pt x="25521" y="138072"/>
                      </a:cubicBezTo>
                      <a:cubicBezTo>
                        <a:pt x="12772" y="135421"/>
                        <a:pt x="3694" y="127975"/>
                        <a:pt x="940" y="114613"/>
                      </a:cubicBezTo>
                      <a:cubicBezTo>
                        <a:pt x="-1916" y="100844"/>
                        <a:pt x="1654" y="88910"/>
                        <a:pt x="12772" y="80036"/>
                      </a:cubicBezTo>
                      <a:cubicBezTo>
                        <a:pt x="25113" y="70142"/>
                        <a:pt x="39903" y="66063"/>
                        <a:pt x="54896" y="63105"/>
                      </a:cubicBezTo>
                      <a:cubicBezTo>
                        <a:pt x="65402" y="61065"/>
                        <a:pt x="76009" y="59535"/>
                        <a:pt x="86617" y="58209"/>
                      </a:cubicBezTo>
                      <a:cubicBezTo>
                        <a:pt x="91717" y="57495"/>
                        <a:pt x="93961" y="55047"/>
                        <a:pt x="93859" y="50049"/>
                      </a:cubicBezTo>
                      <a:cubicBezTo>
                        <a:pt x="93859" y="48111"/>
                        <a:pt x="93859" y="46071"/>
                        <a:pt x="93859" y="44133"/>
                      </a:cubicBezTo>
                      <a:cubicBezTo>
                        <a:pt x="93553" y="15880"/>
                        <a:pt x="73357" y="580"/>
                        <a:pt x="45716" y="7720"/>
                      </a:cubicBezTo>
                      <a:cubicBezTo>
                        <a:pt x="35415" y="10372"/>
                        <a:pt x="30621" y="16186"/>
                        <a:pt x="29805" y="26692"/>
                      </a:cubicBezTo>
                      <a:cubicBezTo>
                        <a:pt x="29601" y="29038"/>
                        <a:pt x="29601" y="31486"/>
                        <a:pt x="29193" y="33831"/>
                      </a:cubicBezTo>
                      <a:cubicBezTo>
                        <a:pt x="27969" y="40257"/>
                        <a:pt x="24093" y="43725"/>
                        <a:pt x="18585" y="43317"/>
                      </a:cubicBezTo>
                      <a:cubicBezTo>
                        <a:pt x="12466" y="42807"/>
                        <a:pt x="10120" y="38523"/>
                        <a:pt x="9508" y="33016"/>
                      </a:cubicBezTo>
                      <a:cubicBezTo>
                        <a:pt x="8488" y="24244"/>
                        <a:pt x="11548" y="16696"/>
                        <a:pt x="18789" y="12004"/>
                      </a:cubicBezTo>
                      <a:cubicBezTo>
                        <a:pt x="24603" y="8230"/>
                        <a:pt x="31029" y="5170"/>
                        <a:pt x="37659" y="3334"/>
                      </a:cubicBezTo>
                      <a:cubicBezTo>
                        <a:pt x="51224" y="-440"/>
                        <a:pt x="65300" y="-950"/>
                        <a:pt x="79273" y="1498"/>
                      </a:cubicBezTo>
                      <a:cubicBezTo>
                        <a:pt x="97531" y="4660"/>
                        <a:pt x="108138" y="15064"/>
                        <a:pt x="111198" y="33219"/>
                      </a:cubicBezTo>
                      <a:cubicBezTo>
                        <a:pt x="112116" y="38625"/>
                        <a:pt x="112320" y="44133"/>
                        <a:pt x="112422" y="49539"/>
                      </a:cubicBezTo>
                      <a:cubicBezTo>
                        <a:pt x="112524" y="71876"/>
                        <a:pt x="112422" y="94112"/>
                        <a:pt x="112524" y="116449"/>
                      </a:cubicBezTo>
                      <a:cubicBezTo>
                        <a:pt x="112524" y="129097"/>
                        <a:pt x="113442" y="130015"/>
                        <a:pt x="126191" y="130627"/>
                      </a:cubicBezTo>
                      <a:cubicBezTo>
                        <a:pt x="126803" y="130525"/>
                        <a:pt x="127415" y="130933"/>
                        <a:pt x="128537" y="131443"/>
                      </a:cubicBezTo>
                      <a:close/>
                      <a:moveTo>
                        <a:pt x="93961" y="84014"/>
                      </a:moveTo>
                      <a:cubicBezTo>
                        <a:pt x="93961" y="83810"/>
                        <a:pt x="93961" y="83606"/>
                        <a:pt x="93961" y="83402"/>
                      </a:cubicBezTo>
                      <a:cubicBezTo>
                        <a:pt x="93961" y="63411"/>
                        <a:pt x="93246" y="62697"/>
                        <a:pt x="73459" y="65858"/>
                      </a:cubicBezTo>
                      <a:cubicBezTo>
                        <a:pt x="58772" y="68204"/>
                        <a:pt x="44186" y="71366"/>
                        <a:pt x="31947" y="80648"/>
                      </a:cubicBezTo>
                      <a:cubicBezTo>
                        <a:pt x="22155" y="87992"/>
                        <a:pt x="18687" y="99008"/>
                        <a:pt x="21951" y="110329"/>
                      </a:cubicBezTo>
                      <a:cubicBezTo>
                        <a:pt x="25011" y="121039"/>
                        <a:pt x="34089" y="127873"/>
                        <a:pt x="46430" y="128791"/>
                      </a:cubicBezTo>
                      <a:cubicBezTo>
                        <a:pt x="75193" y="131035"/>
                        <a:pt x="93961" y="113389"/>
                        <a:pt x="93961" y="84014"/>
                      </a:cubicBezTo>
                      <a:close/>
                    </a:path>
                  </a:pathLst>
                </a:custGeom>
                <a:grpFill/>
                <a:ln w="1018" cap="flat">
                  <a:noFill/>
                  <a:prstDash val="solid"/>
                  <a:miter/>
                </a:ln>
              </p:spPr>
              <p:txBody>
                <a:bodyPr rtlCol="0" anchor="ctr"/>
                <a:lstStyle/>
                <a:p>
                  <a:endParaRPr lang="en-US"/>
                </a:p>
              </p:txBody>
            </p:sp>
            <p:sp>
              <p:nvSpPr>
                <p:cNvPr id="114" name="Freeform 113">
                  <a:extLst>
                    <a:ext uri="{FF2B5EF4-FFF2-40B4-BE49-F238E27FC236}">
                      <a16:creationId xmlns:a16="http://schemas.microsoft.com/office/drawing/2014/main" id="{4C45ED6C-F1EF-434D-8EAB-D691C3D80D5A}"/>
                    </a:ext>
                  </a:extLst>
                </p:cNvPr>
                <p:cNvSpPr/>
                <p:nvPr/>
              </p:nvSpPr>
              <p:spPr>
                <a:xfrm>
                  <a:off x="4249304" y="4811736"/>
                  <a:ext cx="104997" cy="139843"/>
                </a:xfrm>
                <a:custGeom>
                  <a:avLst/>
                  <a:gdLst>
                    <a:gd name="connsiteX0" fmla="*/ 49416 w 104997"/>
                    <a:gd name="connsiteY0" fmla="*/ 139843 h 139843"/>
                    <a:gd name="connsiteX1" fmla="*/ 10963 w 104997"/>
                    <a:gd name="connsiteY1" fmla="*/ 130663 h 139843"/>
                    <a:gd name="connsiteX2" fmla="*/ 1069 w 104997"/>
                    <a:gd name="connsiteY2" fmla="*/ 102410 h 139843"/>
                    <a:gd name="connsiteX3" fmla="*/ 6373 w 104997"/>
                    <a:gd name="connsiteY3" fmla="*/ 97616 h 139843"/>
                    <a:gd name="connsiteX4" fmla="*/ 12187 w 104997"/>
                    <a:gd name="connsiteY4" fmla="*/ 101696 h 139843"/>
                    <a:gd name="connsiteX5" fmla="*/ 14329 w 104997"/>
                    <a:gd name="connsiteY5" fmla="*/ 106490 h 139843"/>
                    <a:gd name="connsiteX6" fmla="*/ 65939 w 104997"/>
                    <a:gd name="connsiteY6" fmla="*/ 132601 h 139843"/>
                    <a:gd name="connsiteX7" fmla="*/ 83992 w 104997"/>
                    <a:gd name="connsiteY7" fmla="*/ 117404 h 139843"/>
                    <a:gd name="connsiteX8" fmla="*/ 77057 w 104997"/>
                    <a:gd name="connsiteY8" fmla="*/ 91701 h 139843"/>
                    <a:gd name="connsiteX9" fmla="*/ 59003 w 104997"/>
                    <a:gd name="connsiteY9" fmla="*/ 81399 h 139843"/>
                    <a:gd name="connsiteX10" fmla="*/ 32178 w 104997"/>
                    <a:gd name="connsiteY10" fmla="*/ 70893 h 139843"/>
                    <a:gd name="connsiteX11" fmla="*/ 15859 w 104997"/>
                    <a:gd name="connsiteY11" fmla="*/ 61407 h 139843"/>
                    <a:gd name="connsiteX12" fmla="*/ 16573 w 104997"/>
                    <a:gd name="connsiteY12" fmla="*/ 10511 h 139843"/>
                    <a:gd name="connsiteX13" fmla="*/ 91336 w 104997"/>
                    <a:gd name="connsiteY13" fmla="*/ 9695 h 139843"/>
                    <a:gd name="connsiteX14" fmla="*/ 97354 w 104997"/>
                    <a:gd name="connsiteY14" fmla="*/ 35806 h 139843"/>
                    <a:gd name="connsiteX15" fmla="*/ 87052 w 104997"/>
                    <a:gd name="connsiteY15" fmla="*/ 36214 h 139843"/>
                    <a:gd name="connsiteX16" fmla="*/ 81646 w 104997"/>
                    <a:gd name="connsiteY16" fmla="*/ 24994 h 139843"/>
                    <a:gd name="connsiteX17" fmla="*/ 37992 w 104997"/>
                    <a:gd name="connsiteY17" fmla="*/ 7043 h 139843"/>
                    <a:gd name="connsiteX18" fmla="*/ 28302 w 104997"/>
                    <a:gd name="connsiteY18" fmla="*/ 45598 h 139843"/>
                    <a:gd name="connsiteX19" fmla="*/ 43908 w 104997"/>
                    <a:gd name="connsiteY19" fmla="*/ 56002 h 139843"/>
                    <a:gd name="connsiteX20" fmla="*/ 73793 w 104997"/>
                    <a:gd name="connsiteY20" fmla="*/ 67629 h 139843"/>
                    <a:gd name="connsiteX21" fmla="*/ 89092 w 104997"/>
                    <a:gd name="connsiteY21" fmla="*/ 75075 h 139843"/>
                    <a:gd name="connsiteX22" fmla="*/ 92050 w 104997"/>
                    <a:gd name="connsiteY22" fmla="*/ 127297 h 139843"/>
                    <a:gd name="connsiteX23" fmla="*/ 49416 w 104997"/>
                    <a:gd name="connsiteY23" fmla="*/ 139843 h 139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04997" h="139843">
                      <a:moveTo>
                        <a:pt x="49416" y="139843"/>
                      </a:moveTo>
                      <a:cubicBezTo>
                        <a:pt x="35952" y="139537"/>
                        <a:pt x="22795" y="137803"/>
                        <a:pt x="10963" y="130663"/>
                      </a:cubicBezTo>
                      <a:cubicBezTo>
                        <a:pt x="3007" y="125870"/>
                        <a:pt x="-2398" y="110978"/>
                        <a:pt x="1069" y="102410"/>
                      </a:cubicBezTo>
                      <a:cubicBezTo>
                        <a:pt x="1885" y="100370"/>
                        <a:pt x="4435" y="97820"/>
                        <a:pt x="6373" y="97616"/>
                      </a:cubicBezTo>
                      <a:cubicBezTo>
                        <a:pt x="8209" y="97412"/>
                        <a:pt x="10555" y="99962"/>
                        <a:pt x="12187" y="101696"/>
                      </a:cubicBezTo>
                      <a:cubicBezTo>
                        <a:pt x="13309" y="102920"/>
                        <a:pt x="13615" y="104858"/>
                        <a:pt x="14329" y="106490"/>
                      </a:cubicBezTo>
                      <a:cubicBezTo>
                        <a:pt x="24121" y="128725"/>
                        <a:pt x="42174" y="137905"/>
                        <a:pt x="65939" y="132601"/>
                      </a:cubicBezTo>
                      <a:cubicBezTo>
                        <a:pt x="74609" y="130663"/>
                        <a:pt x="81545" y="126481"/>
                        <a:pt x="83992" y="117404"/>
                      </a:cubicBezTo>
                      <a:cubicBezTo>
                        <a:pt x="86542" y="107612"/>
                        <a:pt x="85012" y="98228"/>
                        <a:pt x="77057" y="91701"/>
                      </a:cubicBezTo>
                      <a:cubicBezTo>
                        <a:pt x="71753" y="87315"/>
                        <a:pt x="65327" y="84255"/>
                        <a:pt x="59003" y="81399"/>
                      </a:cubicBezTo>
                      <a:cubicBezTo>
                        <a:pt x="50231" y="77523"/>
                        <a:pt x="40950" y="74769"/>
                        <a:pt x="32178" y="70893"/>
                      </a:cubicBezTo>
                      <a:cubicBezTo>
                        <a:pt x="26467" y="68343"/>
                        <a:pt x="20755" y="65283"/>
                        <a:pt x="15859" y="61407"/>
                      </a:cubicBezTo>
                      <a:cubicBezTo>
                        <a:pt x="-1072" y="48046"/>
                        <a:pt x="-562" y="23669"/>
                        <a:pt x="16573" y="10511"/>
                      </a:cubicBezTo>
                      <a:cubicBezTo>
                        <a:pt x="34218" y="-3157"/>
                        <a:pt x="73283" y="-3565"/>
                        <a:pt x="91336" y="9695"/>
                      </a:cubicBezTo>
                      <a:cubicBezTo>
                        <a:pt x="96844" y="13775"/>
                        <a:pt x="100516" y="29788"/>
                        <a:pt x="97354" y="35806"/>
                      </a:cubicBezTo>
                      <a:cubicBezTo>
                        <a:pt x="94906" y="40498"/>
                        <a:pt x="89704" y="40804"/>
                        <a:pt x="87052" y="36214"/>
                      </a:cubicBezTo>
                      <a:cubicBezTo>
                        <a:pt x="85012" y="32644"/>
                        <a:pt x="83686" y="28564"/>
                        <a:pt x="81646" y="24994"/>
                      </a:cubicBezTo>
                      <a:cubicBezTo>
                        <a:pt x="72671" y="8981"/>
                        <a:pt x="55535" y="2045"/>
                        <a:pt x="37992" y="7043"/>
                      </a:cubicBezTo>
                      <a:cubicBezTo>
                        <a:pt x="21571" y="11735"/>
                        <a:pt x="15961" y="32644"/>
                        <a:pt x="28302" y="45598"/>
                      </a:cubicBezTo>
                      <a:cubicBezTo>
                        <a:pt x="32484" y="50086"/>
                        <a:pt x="38298" y="53452"/>
                        <a:pt x="43908" y="56002"/>
                      </a:cubicBezTo>
                      <a:cubicBezTo>
                        <a:pt x="53597" y="60387"/>
                        <a:pt x="63899" y="63651"/>
                        <a:pt x="73793" y="67629"/>
                      </a:cubicBezTo>
                      <a:cubicBezTo>
                        <a:pt x="78995" y="69771"/>
                        <a:pt x="84298" y="72117"/>
                        <a:pt x="89092" y="75075"/>
                      </a:cubicBezTo>
                      <a:cubicBezTo>
                        <a:pt x="109083" y="87519"/>
                        <a:pt x="110409" y="112610"/>
                        <a:pt x="92050" y="127297"/>
                      </a:cubicBezTo>
                      <a:cubicBezTo>
                        <a:pt x="79606" y="137395"/>
                        <a:pt x="64715" y="139435"/>
                        <a:pt x="49416" y="139843"/>
                      </a:cubicBezTo>
                      <a:close/>
                    </a:path>
                  </a:pathLst>
                </a:custGeom>
                <a:grpFill/>
                <a:ln w="1018" cap="flat">
                  <a:noFill/>
                  <a:prstDash val="solid"/>
                  <a:miter/>
                </a:ln>
              </p:spPr>
              <p:txBody>
                <a:bodyPr rtlCol="0" anchor="ctr"/>
                <a:lstStyle/>
                <a:p>
                  <a:endParaRPr lang="en-US"/>
                </a:p>
              </p:txBody>
            </p:sp>
            <p:sp>
              <p:nvSpPr>
                <p:cNvPr id="115" name="Freeform 114">
                  <a:extLst>
                    <a:ext uri="{FF2B5EF4-FFF2-40B4-BE49-F238E27FC236}">
                      <a16:creationId xmlns:a16="http://schemas.microsoft.com/office/drawing/2014/main" id="{87CD3769-75AD-8040-B8EA-B4249C58420E}"/>
                    </a:ext>
                  </a:extLst>
                </p:cNvPr>
                <p:cNvSpPr/>
                <p:nvPr/>
              </p:nvSpPr>
              <p:spPr>
                <a:xfrm>
                  <a:off x="4117167" y="4783794"/>
                  <a:ext cx="77415" cy="167410"/>
                </a:xfrm>
                <a:custGeom>
                  <a:avLst/>
                  <a:gdLst>
                    <a:gd name="connsiteX0" fmla="*/ 77211 w 77415"/>
                    <a:gd name="connsiteY0" fmla="*/ 155035 h 167410"/>
                    <a:gd name="connsiteX1" fmla="*/ 77007 w 77415"/>
                    <a:gd name="connsiteY1" fmla="*/ 157585 h 167410"/>
                    <a:gd name="connsiteX2" fmla="*/ 45286 w 77415"/>
                    <a:gd name="connsiteY2" fmla="*/ 166765 h 167410"/>
                    <a:gd name="connsiteX3" fmla="*/ 23357 w 77415"/>
                    <a:gd name="connsiteY3" fmla="*/ 148712 h 167410"/>
                    <a:gd name="connsiteX4" fmla="*/ 21113 w 77415"/>
                    <a:gd name="connsiteY4" fmla="*/ 131882 h 167410"/>
                    <a:gd name="connsiteX5" fmla="*/ 21011 w 77415"/>
                    <a:gd name="connsiteY5" fmla="*/ 50591 h 167410"/>
                    <a:gd name="connsiteX6" fmla="*/ 8975 w 77415"/>
                    <a:gd name="connsiteY6" fmla="*/ 38249 h 167410"/>
                    <a:gd name="connsiteX7" fmla="*/ 1326 w 77415"/>
                    <a:gd name="connsiteY7" fmla="*/ 38249 h 167410"/>
                    <a:gd name="connsiteX8" fmla="*/ 0 w 77415"/>
                    <a:gd name="connsiteY8" fmla="*/ 36515 h 167410"/>
                    <a:gd name="connsiteX9" fmla="*/ 4284 w 77415"/>
                    <a:gd name="connsiteY9" fmla="*/ 31007 h 167410"/>
                    <a:gd name="connsiteX10" fmla="*/ 31109 w 77415"/>
                    <a:gd name="connsiteY10" fmla="*/ 4692 h 167410"/>
                    <a:gd name="connsiteX11" fmla="*/ 37330 w 77415"/>
                    <a:gd name="connsiteY11" fmla="*/ 0 h 167410"/>
                    <a:gd name="connsiteX12" fmla="*/ 39779 w 77415"/>
                    <a:gd name="connsiteY12" fmla="*/ 7242 h 167410"/>
                    <a:gd name="connsiteX13" fmla="*/ 39676 w 77415"/>
                    <a:gd name="connsiteY13" fmla="*/ 21011 h 167410"/>
                    <a:gd name="connsiteX14" fmla="*/ 48856 w 77415"/>
                    <a:gd name="connsiteY14" fmla="*/ 30497 h 167410"/>
                    <a:gd name="connsiteX15" fmla="*/ 73131 w 77415"/>
                    <a:gd name="connsiteY15" fmla="*/ 30701 h 167410"/>
                    <a:gd name="connsiteX16" fmla="*/ 77415 w 77415"/>
                    <a:gd name="connsiteY16" fmla="*/ 31007 h 167410"/>
                    <a:gd name="connsiteX17" fmla="*/ 77415 w 77415"/>
                    <a:gd name="connsiteY17" fmla="*/ 39983 h 167410"/>
                    <a:gd name="connsiteX18" fmla="*/ 52222 w 77415"/>
                    <a:gd name="connsiteY18" fmla="*/ 38861 h 167410"/>
                    <a:gd name="connsiteX19" fmla="*/ 39574 w 77415"/>
                    <a:gd name="connsiteY19" fmla="*/ 51101 h 167410"/>
                    <a:gd name="connsiteX20" fmla="*/ 39574 w 77415"/>
                    <a:gd name="connsiteY20" fmla="*/ 127802 h 167410"/>
                    <a:gd name="connsiteX21" fmla="*/ 40186 w 77415"/>
                    <a:gd name="connsiteY21" fmla="*/ 140858 h 167410"/>
                    <a:gd name="connsiteX22" fmla="*/ 69765 w 77415"/>
                    <a:gd name="connsiteY22" fmla="*/ 157789 h 167410"/>
                    <a:gd name="connsiteX23" fmla="*/ 77211 w 77415"/>
                    <a:gd name="connsiteY23" fmla="*/ 155035 h 16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7415" h="167410">
                      <a:moveTo>
                        <a:pt x="77211" y="155035"/>
                      </a:moveTo>
                      <a:cubicBezTo>
                        <a:pt x="77007" y="157177"/>
                        <a:pt x="77109" y="157483"/>
                        <a:pt x="77007" y="157585"/>
                      </a:cubicBezTo>
                      <a:cubicBezTo>
                        <a:pt x="68541" y="167785"/>
                        <a:pt x="57016" y="168295"/>
                        <a:pt x="45286" y="166765"/>
                      </a:cubicBezTo>
                      <a:cubicBezTo>
                        <a:pt x="34475" y="165337"/>
                        <a:pt x="26519" y="159421"/>
                        <a:pt x="23357" y="148712"/>
                      </a:cubicBezTo>
                      <a:cubicBezTo>
                        <a:pt x="21827" y="143306"/>
                        <a:pt x="21215" y="137594"/>
                        <a:pt x="21113" y="131882"/>
                      </a:cubicBezTo>
                      <a:cubicBezTo>
                        <a:pt x="20909" y="104751"/>
                        <a:pt x="21011" y="77722"/>
                        <a:pt x="21011" y="50591"/>
                      </a:cubicBezTo>
                      <a:cubicBezTo>
                        <a:pt x="21011" y="38759"/>
                        <a:pt x="20501" y="38249"/>
                        <a:pt x="8975" y="38249"/>
                      </a:cubicBezTo>
                      <a:cubicBezTo>
                        <a:pt x="6426" y="38249"/>
                        <a:pt x="3876" y="38249"/>
                        <a:pt x="1326" y="38249"/>
                      </a:cubicBezTo>
                      <a:cubicBezTo>
                        <a:pt x="918" y="37637"/>
                        <a:pt x="510" y="37127"/>
                        <a:pt x="0" y="36515"/>
                      </a:cubicBezTo>
                      <a:cubicBezTo>
                        <a:pt x="1428" y="34577"/>
                        <a:pt x="2346" y="31925"/>
                        <a:pt x="4284" y="31007"/>
                      </a:cubicBezTo>
                      <a:cubicBezTo>
                        <a:pt x="15809" y="24785"/>
                        <a:pt x="24377" y="15810"/>
                        <a:pt x="31109" y="4692"/>
                      </a:cubicBezTo>
                      <a:cubicBezTo>
                        <a:pt x="32333" y="2652"/>
                        <a:pt x="35189" y="1530"/>
                        <a:pt x="37330" y="0"/>
                      </a:cubicBezTo>
                      <a:cubicBezTo>
                        <a:pt x="38146" y="2448"/>
                        <a:pt x="39574" y="4794"/>
                        <a:pt x="39779" y="7242"/>
                      </a:cubicBezTo>
                      <a:cubicBezTo>
                        <a:pt x="40084" y="11832"/>
                        <a:pt x="39676" y="16422"/>
                        <a:pt x="39676" y="21011"/>
                      </a:cubicBezTo>
                      <a:cubicBezTo>
                        <a:pt x="39676" y="28559"/>
                        <a:pt x="41104" y="30191"/>
                        <a:pt x="48856" y="30497"/>
                      </a:cubicBezTo>
                      <a:cubicBezTo>
                        <a:pt x="56914" y="30803"/>
                        <a:pt x="65073" y="30599"/>
                        <a:pt x="73131" y="30701"/>
                      </a:cubicBezTo>
                      <a:cubicBezTo>
                        <a:pt x="74457" y="30701"/>
                        <a:pt x="75681" y="30905"/>
                        <a:pt x="77415" y="31007"/>
                      </a:cubicBezTo>
                      <a:cubicBezTo>
                        <a:pt x="77415" y="33965"/>
                        <a:pt x="77415" y="36617"/>
                        <a:pt x="77415" y="39983"/>
                      </a:cubicBezTo>
                      <a:cubicBezTo>
                        <a:pt x="68745" y="39575"/>
                        <a:pt x="60484" y="38963"/>
                        <a:pt x="52222" y="38861"/>
                      </a:cubicBezTo>
                      <a:cubicBezTo>
                        <a:pt x="41104" y="38657"/>
                        <a:pt x="39574" y="40187"/>
                        <a:pt x="39574" y="51101"/>
                      </a:cubicBezTo>
                      <a:cubicBezTo>
                        <a:pt x="39574" y="76702"/>
                        <a:pt x="39574" y="102201"/>
                        <a:pt x="39574" y="127802"/>
                      </a:cubicBezTo>
                      <a:cubicBezTo>
                        <a:pt x="39574" y="132188"/>
                        <a:pt x="39676" y="136574"/>
                        <a:pt x="40186" y="140858"/>
                      </a:cubicBezTo>
                      <a:cubicBezTo>
                        <a:pt x="42022" y="157687"/>
                        <a:pt x="54058" y="164419"/>
                        <a:pt x="69765" y="157789"/>
                      </a:cubicBezTo>
                      <a:cubicBezTo>
                        <a:pt x="72009" y="156667"/>
                        <a:pt x="74253" y="156055"/>
                        <a:pt x="77211" y="155035"/>
                      </a:cubicBezTo>
                      <a:close/>
                    </a:path>
                  </a:pathLst>
                </a:custGeom>
                <a:grpFill/>
                <a:ln w="1018" cap="flat">
                  <a:noFill/>
                  <a:prstDash val="solid"/>
                  <a:miter/>
                </a:ln>
              </p:spPr>
              <p:txBody>
                <a:bodyPr rtlCol="0" anchor="ctr"/>
                <a:lstStyle/>
                <a:p>
                  <a:endParaRPr lang="en-US"/>
                </a:p>
              </p:txBody>
            </p:sp>
            <p:sp>
              <p:nvSpPr>
                <p:cNvPr id="116" name="Freeform 115">
                  <a:extLst>
                    <a:ext uri="{FF2B5EF4-FFF2-40B4-BE49-F238E27FC236}">
                      <a16:creationId xmlns:a16="http://schemas.microsoft.com/office/drawing/2014/main" id="{137060BC-CA89-0546-B0CD-89DB4374380F}"/>
                    </a:ext>
                  </a:extLst>
                </p:cNvPr>
                <p:cNvSpPr/>
                <p:nvPr/>
              </p:nvSpPr>
              <p:spPr>
                <a:xfrm>
                  <a:off x="4215899" y="4759213"/>
                  <a:ext cx="31924" cy="55486"/>
                </a:xfrm>
                <a:custGeom>
                  <a:avLst/>
                  <a:gdLst>
                    <a:gd name="connsiteX0" fmla="*/ 8874 w 31924"/>
                    <a:gd name="connsiteY0" fmla="*/ 51610 h 55486"/>
                    <a:gd name="connsiteX1" fmla="*/ 18767 w 31924"/>
                    <a:gd name="connsiteY1" fmla="*/ 34271 h 55486"/>
                    <a:gd name="connsiteX2" fmla="*/ 13974 w 31924"/>
                    <a:gd name="connsiteY2" fmla="*/ 28865 h 55486"/>
                    <a:gd name="connsiteX3" fmla="*/ 0 w 31924"/>
                    <a:gd name="connsiteY3" fmla="*/ 14586 h 55486"/>
                    <a:gd name="connsiteX4" fmla="*/ 15198 w 31924"/>
                    <a:gd name="connsiteY4" fmla="*/ 0 h 55486"/>
                    <a:gd name="connsiteX5" fmla="*/ 31925 w 31924"/>
                    <a:gd name="connsiteY5" fmla="*/ 20603 h 55486"/>
                    <a:gd name="connsiteX6" fmla="*/ 11934 w 31924"/>
                    <a:gd name="connsiteY6" fmla="*/ 55486 h 55486"/>
                    <a:gd name="connsiteX7" fmla="*/ 8874 w 31924"/>
                    <a:gd name="connsiteY7" fmla="*/ 51610 h 55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924" h="55486">
                      <a:moveTo>
                        <a:pt x="8874" y="51610"/>
                      </a:moveTo>
                      <a:cubicBezTo>
                        <a:pt x="13974" y="47123"/>
                        <a:pt x="18767" y="38453"/>
                        <a:pt x="18767" y="34271"/>
                      </a:cubicBezTo>
                      <a:cubicBezTo>
                        <a:pt x="18767" y="30701"/>
                        <a:pt x="16728" y="28865"/>
                        <a:pt x="13974" y="28865"/>
                      </a:cubicBezTo>
                      <a:cubicBezTo>
                        <a:pt x="6222" y="28865"/>
                        <a:pt x="0" y="23153"/>
                        <a:pt x="0" y="14586"/>
                      </a:cubicBezTo>
                      <a:cubicBezTo>
                        <a:pt x="0" y="5304"/>
                        <a:pt x="7446" y="0"/>
                        <a:pt x="15198" y="0"/>
                      </a:cubicBezTo>
                      <a:cubicBezTo>
                        <a:pt x="26825" y="0"/>
                        <a:pt x="31925" y="10098"/>
                        <a:pt x="31925" y="20603"/>
                      </a:cubicBezTo>
                      <a:cubicBezTo>
                        <a:pt x="31925" y="32843"/>
                        <a:pt x="24785" y="47429"/>
                        <a:pt x="11934" y="55486"/>
                      </a:cubicBezTo>
                      <a:lnTo>
                        <a:pt x="8874" y="51610"/>
                      </a:lnTo>
                      <a:close/>
                    </a:path>
                  </a:pathLst>
                </a:custGeom>
                <a:grpFill/>
                <a:ln w="1018" cap="flat">
                  <a:noFill/>
                  <a:prstDash val="solid"/>
                  <a:miter/>
                </a:ln>
              </p:spPr>
              <p:txBody>
                <a:bodyPr rtlCol="0" anchor="ctr"/>
                <a:lstStyle/>
                <a:p>
                  <a:endParaRPr lang="en-US"/>
                </a:p>
              </p:txBody>
            </p:sp>
          </p:grpSp>
          <p:grpSp>
            <p:nvGrpSpPr>
              <p:cNvPr id="99" name="Graphic 53">
                <a:extLst>
                  <a:ext uri="{FF2B5EF4-FFF2-40B4-BE49-F238E27FC236}">
                    <a16:creationId xmlns:a16="http://schemas.microsoft.com/office/drawing/2014/main" id="{C7AFD64E-8949-8C4E-BFB3-6BA983646EC8}"/>
                  </a:ext>
                </a:extLst>
              </p:cNvPr>
              <p:cNvGrpSpPr/>
              <p:nvPr/>
            </p:nvGrpSpPr>
            <p:grpSpPr>
              <a:xfrm>
                <a:off x="9784638" y="4062210"/>
                <a:ext cx="1042163" cy="348067"/>
                <a:chOff x="4449164" y="4763202"/>
                <a:chExt cx="563834" cy="188312"/>
              </a:xfrm>
              <a:grpFill/>
            </p:grpSpPr>
            <p:sp>
              <p:nvSpPr>
                <p:cNvPr id="108" name="Freeform 107">
                  <a:extLst>
                    <a:ext uri="{FF2B5EF4-FFF2-40B4-BE49-F238E27FC236}">
                      <a16:creationId xmlns:a16="http://schemas.microsoft.com/office/drawing/2014/main" id="{4A28DE56-DAD2-C545-B9C7-D5453875E7AB}"/>
                    </a:ext>
                  </a:extLst>
                </p:cNvPr>
                <p:cNvSpPr/>
                <p:nvPr/>
              </p:nvSpPr>
              <p:spPr>
                <a:xfrm>
                  <a:off x="4449164" y="4763202"/>
                  <a:ext cx="172577" cy="186568"/>
                </a:xfrm>
                <a:custGeom>
                  <a:avLst/>
                  <a:gdLst>
                    <a:gd name="connsiteX0" fmla="*/ 148200 w 172577"/>
                    <a:gd name="connsiteY0" fmla="*/ 148191 h 186568"/>
                    <a:gd name="connsiteX1" fmla="*/ 148200 w 172577"/>
                    <a:gd name="connsiteY1" fmla="*/ 142479 h 186568"/>
                    <a:gd name="connsiteX2" fmla="*/ 148200 w 172577"/>
                    <a:gd name="connsiteY2" fmla="*/ 23142 h 186568"/>
                    <a:gd name="connsiteX3" fmla="*/ 135349 w 172577"/>
                    <a:gd name="connsiteY3" fmla="*/ 5497 h 186568"/>
                    <a:gd name="connsiteX4" fmla="*/ 131065 w 172577"/>
                    <a:gd name="connsiteY4" fmla="*/ 2029 h 186568"/>
                    <a:gd name="connsiteX5" fmla="*/ 132085 w 172577"/>
                    <a:gd name="connsiteY5" fmla="*/ 91 h 186568"/>
                    <a:gd name="connsiteX6" fmla="*/ 169314 w 172577"/>
                    <a:gd name="connsiteY6" fmla="*/ 193 h 186568"/>
                    <a:gd name="connsiteX7" fmla="*/ 172578 w 172577"/>
                    <a:gd name="connsiteY7" fmla="*/ 2335 h 186568"/>
                    <a:gd name="connsiteX8" fmla="*/ 169824 w 172577"/>
                    <a:gd name="connsiteY8" fmla="*/ 5293 h 186568"/>
                    <a:gd name="connsiteX9" fmla="*/ 163500 w 172577"/>
                    <a:gd name="connsiteY9" fmla="*/ 7027 h 186568"/>
                    <a:gd name="connsiteX10" fmla="*/ 155850 w 172577"/>
                    <a:gd name="connsiteY10" fmla="*/ 16512 h 186568"/>
                    <a:gd name="connsiteX11" fmla="*/ 155646 w 172577"/>
                    <a:gd name="connsiteY11" fmla="*/ 24366 h 186568"/>
                    <a:gd name="connsiteX12" fmla="*/ 155646 w 172577"/>
                    <a:gd name="connsiteY12" fmla="*/ 177872 h 186568"/>
                    <a:gd name="connsiteX13" fmla="*/ 155646 w 172577"/>
                    <a:gd name="connsiteY13" fmla="*/ 185624 h 186568"/>
                    <a:gd name="connsiteX14" fmla="*/ 144223 w 172577"/>
                    <a:gd name="connsiteY14" fmla="*/ 182054 h 186568"/>
                    <a:gd name="connsiteX15" fmla="*/ 31211 w 172577"/>
                    <a:gd name="connsiteY15" fmla="*/ 29058 h 186568"/>
                    <a:gd name="connsiteX16" fmla="*/ 26009 w 172577"/>
                    <a:gd name="connsiteY16" fmla="*/ 22326 h 186568"/>
                    <a:gd name="connsiteX17" fmla="*/ 25499 w 172577"/>
                    <a:gd name="connsiteY17" fmla="*/ 28956 h 186568"/>
                    <a:gd name="connsiteX18" fmla="*/ 25499 w 172577"/>
                    <a:gd name="connsiteY18" fmla="*/ 164714 h 186568"/>
                    <a:gd name="connsiteX19" fmla="*/ 37433 w 172577"/>
                    <a:gd name="connsiteY19" fmla="*/ 181136 h 186568"/>
                    <a:gd name="connsiteX20" fmla="*/ 42022 w 172577"/>
                    <a:gd name="connsiteY20" fmla="*/ 184400 h 186568"/>
                    <a:gd name="connsiteX21" fmla="*/ 41104 w 172577"/>
                    <a:gd name="connsiteY21" fmla="*/ 186134 h 186568"/>
                    <a:gd name="connsiteX22" fmla="*/ 1428 w 172577"/>
                    <a:gd name="connsiteY22" fmla="*/ 186134 h 186568"/>
                    <a:gd name="connsiteX23" fmla="*/ 204 w 172577"/>
                    <a:gd name="connsiteY23" fmla="*/ 184910 h 186568"/>
                    <a:gd name="connsiteX24" fmla="*/ 4386 w 172577"/>
                    <a:gd name="connsiteY24" fmla="*/ 181238 h 186568"/>
                    <a:gd name="connsiteX25" fmla="*/ 18053 w 172577"/>
                    <a:gd name="connsiteY25" fmla="*/ 162980 h 186568"/>
                    <a:gd name="connsiteX26" fmla="*/ 18053 w 172577"/>
                    <a:gd name="connsiteY26" fmla="*/ 23958 h 186568"/>
                    <a:gd name="connsiteX27" fmla="*/ 4182 w 172577"/>
                    <a:gd name="connsiteY27" fmla="*/ 5293 h 186568"/>
                    <a:gd name="connsiteX28" fmla="*/ 0 w 172577"/>
                    <a:gd name="connsiteY28" fmla="*/ 1927 h 186568"/>
                    <a:gd name="connsiteX29" fmla="*/ 1020 w 172577"/>
                    <a:gd name="connsiteY29" fmla="*/ 91 h 186568"/>
                    <a:gd name="connsiteX30" fmla="*/ 33659 w 172577"/>
                    <a:gd name="connsiteY30" fmla="*/ 295 h 186568"/>
                    <a:gd name="connsiteX31" fmla="*/ 39880 w 172577"/>
                    <a:gd name="connsiteY31" fmla="*/ 5191 h 186568"/>
                    <a:gd name="connsiteX32" fmla="*/ 141979 w 172577"/>
                    <a:gd name="connsiteY32" fmla="*/ 142581 h 186568"/>
                    <a:gd name="connsiteX33" fmla="*/ 146772 w 172577"/>
                    <a:gd name="connsiteY33" fmla="*/ 148701 h 186568"/>
                    <a:gd name="connsiteX34" fmla="*/ 148200 w 172577"/>
                    <a:gd name="connsiteY34" fmla="*/ 148191 h 186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72577" h="186568">
                      <a:moveTo>
                        <a:pt x="148200" y="148191"/>
                      </a:moveTo>
                      <a:cubicBezTo>
                        <a:pt x="148200" y="146253"/>
                        <a:pt x="148200" y="144417"/>
                        <a:pt x="148200" y="142479"/>
                      </a:cubicBezTo>
                      <a:cubicBezTo>
                        <a:pt x="148200" y="102700"/>
                        <a:pt x="148200" y="62921"/>
                        <a:pt x="148200" y="23142"/>
                      </a:cubicBezTo>
                      <a:cubicBezTo>
                        <a:pt x="148200" y="10495"/>
                        <a:pt x="147180" y="9271"/>
                        <a:pt x="135349" y="5497"/>
                      </a:cubicBezTo>
                      <a:cubicBezTo>
                        <a:pt x="133717" y="4987"/>
                        <a:pt x="132493" y="3253"/>
                        <a:pt x="131065" y="2029"/>
                      </a:cubicBezTo>
                      <a:cubicBezTo>
                        <a:pt x="131371" y="1417"/>
                        <a:pt x="131779" y="703"/>
                        <a:pt x="132085" y="91"/>
                      </a:cubicBezTo>
                      <a:cubicBezTo>
                        <a:pt x="144529" y="91"/>
                        <a:pt x="156972" y="-11"/>
                        <a:pt x="169314" y="193"/>
                      </a:cubicBezTo>
                      <a:cubicBezTo>
                        <a:pt x="170436" y="193"/>
                        <a:pt x="171456" y="1621"/>
                        <a:pt x="172578" y="2335"/>
                      </a:cubicBezTo>
                      <a:cubicBezTo>
                        <a:pt x="171659" y="3355"/>
                        <a:pt x="170946" y="4783"/>
                        <a:pt x="169824" y="5293"/>
                      </a:cubicBezTo>
                      <a:cubicBezTo>
                        <a:pt x="167886" y="6211"/>
                        <a:pt x="165642" y="6313"/>
                        <a:pt x="163500" y="7027"/>
                      </a:cubicBezTo>
                      <a:cubicBezTo>
                        <a:pt x="158808" y="8455"/>
                        <a:pt x="156156" y="11617"/>
                        <a:pt x="155850" y="16512"/>
                      </a:cubicBezTo>
                      <a:cubicBezTo>
                        <a:pt x="155646" y="19165"/>
                        <a:pt x="155646" y="21714"/>
                        <a:pt x="155646" y="24366"/>
                      </a:cubicBezTo>
                      <a:cubicBezTo>
                        <a:pt x="155646" y="75569"/>
                        <a:pt x="155646" y="126669"/>
                        <a:pt x="155646" y="177872"/>
                      </a:cubicBezTo>
                      <a:cubicBezTo>
                        <a:pt x="155646" y="180422"/>
                        <a:pt x="155646" y="183074"/>
                        <a:pt x="155646" y="185624"/>
                      </a:cubicBezTo>
                      <a:cubicBezTo>
                        <a:pt x="150342" y="187765"/>
                        <a:pt x="147282" y="186134"/>
                        <a:pt x="144223" y="182054"/>
                      </a:cubicBezTo>
                      <a:cubicBezTo>
                        <a:pt x="106688" y="130953"/>
                        <a:pt x="68949" y="80057"/>
                        <a:pt x="31211" y="29058"/>
                      </a:cubicBezTo>
                      <a:cubicBezTo>
                        <a:pt x="29783" y="27120"/>
                        <a:pt x="28355" y="25284"/>
                        <a:pt x="26009" y="22326"/>
                      </a:cubicBezTo>
                      <a:cubicBezTo>
                        <a:pt x="25805" y="25386"/>
                        <a:pt x="25499" y="27222"/>
                        <a:pt x="25499" y="28956"/>
                      </a:cubicBezTo>
                      <a:cubicBezTo>
                        <a:pt x="25499" y="74243"/>
                        <a:pt x="25499" y="119427"/>
                        <a:pt x="25499" y="164714"/>
                      </a:cubicBezTo>
                      <a:cubicBezTo>
                        <a:pt x="25499" y="176036"/>
                        <a:pt x="26723" y="177566"/>
                        <a:pt x="37433" y="181136"/>
                      </a:cubicBezTo>
                      <a:cubicBezTo>
                        <a:pt x="39166" y="181748"/>
                        <a:pt x="40492" y="183278"/>
                        <a:pt x="42022" y="184400"/>
                      </a:cubicBezTo>
                      <a:cubicBezTo>
                        <a:pt x="41716" y="185012"/>
                        <a:pt x="41410" y="185624"/>
                        <a:pt x="41104" y="186134"/>
                      </a:cubicBezTo>
                      <a:cubicBezTo>
                        <a:pt x="27845" y="186134"/>
                        <a:pt x="14687" y="186134"/>
                        <a:pt x="1428" y="186134"/>
                      </a:cubicBezTo>
                      <a:cubicBezTo>
                        <a:pt x="1020" y="185726"/>
                        <a:pt x="612" y="185318"/>
                        <a:pt x="204" y="184910"/>
                      </a:cubicBezTo>
                      <a:cubicBezTo>
                        <a:pt x="1530" y="183686"/>
                        <a:pt x="2754" y="181748"/>
                        <a:pt x="4386" y="181238"/>
                      </a:cubicBezTo>
                      <a:cubicBezTo>
                        <a:pt x="17339" y="177362"/>
                        <a:pt x="18053" y="176444"/>
                        <a:pt x="18053" y="162980"/>
                      </a:cubicBezTo>
                      <a:cubicBezTo>
                        <a:pt x="18053" y="116674"/>
                        <a:pt x="18053" y="70265"/>
                        <a:pt x="18053" y="23958"/>
                      </a:cubicBezTo>
                      <a:cubicBezTo>
                        <a:pt x="18053" y="9985"/>
                        <a:pt x="17339" y="9169"/>
                        <a:pt x="4182" y="5293"/>
                      </a:cubicBezTo>
                      <a:cubicBezTo>
                        <a:pt x="2550" y="4783"/>
                        <a:pt x="1326" y="3049"/>
                        <a:pt x="0" y="1927"/>
                      </a:cubicBezTo>
                      <a:cubicBezTo>
                        <a:pt x="306" y="1315"/>
                        <a:pt x="714" y="703"/>
                        <a:pt x="1020" y="91"/>
                      </a:cubicBezTo>
                      <a:cubicBezTo>
                        <a:pt x="11934" y="91"/>
                        <a:pt x="22847" y="-215"/>
                        <a:pt x="33659" y="295"/>
                      </a:cubicBezTo>
                      <a:cubicBezTo>
                        <a:pt x="35801" y="397"/>
                        <a:pt x="38350" y="3049"/>
                        <a:pt x="39880" y="5191"/>
                      </a:cubicBezTo>
                      <a:cubicBezTo>
                        <a:pt x="73947" y="50988"/>
                        <a:pt x="107912" y="96784"/>
                        <a:pt x="141979" y="142581"/>
                      </a:cubicBezTo>
                      <a:cubicBezTo>
                        <a:pt x="143509" y="144621"/>
                        <a:pt x="145140" y="146661"/>
                        <a:pt x="146772" y="148701"/>
                      </a:cubicBezTo>
                      <a:cubicBezTo>
                        <a:pt x="147282" y="148497"/>
                        <a:pt x="147690" y="148293"/>
                        <a:pt x="148200" y="148191"/>
                      </a:cubicBezTo>
                      <a:close/>
                    </a:path>
                  </a:pathLst>
                </a:custGeom>
                <a:grpFill/>
                <a:ln w="1018" cap="flat">
                  <a:noFill/>
                  <a:prstDash val="solid"/>
                  <a:miter/>
                </a:ln>
              </p:spPr>
              <p:txBody>
                <a:bodyPr rtlCol="0" anchor="ctr"/>
                <a:lstStyle/>
                <a:p>
                  <a:endParaRPr lang="en-US"/>
                </a:p>
              </p:txBody>
            </p:sp>
            <p:sp>
              <p:nvSpPr>
                <p:cNvPr id="109" name="Freeform 108">
                  <a:extLst>
                    <a:ext uri="{FF2B5EF4-FFF2-40B4-BE49-F238E27FC236}">
                      <a16:creationId xmlns:a16="http://schemas.microsoft.com/office/drawing/2014/main" id="{CF465394-91F9-DA42-BAA5-2D72ACCC37BE}"/>
                    </a:ext>
                  </a:extLst>
                </p:cNvPr>
                <p:cNvSpPr/>
                <p:nvPr/>
              </p:nvSpPr>
              <p:spPr>
                <a:xfrm>
                  <a:off x="4776674" y="4814699"/>
                  <a:ext cx="140346" cy="134737"/>
                </a:xfrm>
                <a:custGeom>
                  <a:avLst/>
                  <a:gdLst>
                    <a:gd name="connsiteX0" fmla="*/ 54058 w 140346"/>
                    <a:gd name="connsiteY0" fmla="*/ 134738 h 134737"/>
                    <a:gd name="connsiteX1" fmla="*/ 1122 w 140346"/>
                    <a:gd name="connsiteY1" fmla="*/ 134738 h 134737"/>
                    <a:gd name="connsiteX2" fmla="*/ 0 w 140346"/>
                    <a:gd name="connsiteY2" fmla="*/ 133208 h 134737"/>
                    <a:gd name="connsiteX3" fmla="*/ 4488 w 140346"/>
                    <a:gd name="connsiteY3" fmla="*/ 129128 h 134737"/>
                    <a:gd name="connsiteX4" fmla="*/ 35597 w 140346"/>
                    <a:gd name="connsiteY4" fmla="*/ 107505 h 134737"/>
                    <a:gd name="connsiteX5" fmla="*/ 63136 w 140346"/>
                    <a:gd name="connsiteY5" fmla="*/ 71602 h 134737"/>
                    <a:gd name="connsiteX6" fmla="*/ 22439 w 140346"/>
                    <a:gd name="connsiteY6" fmla="*/ 17441 h 134737"/>
                    <a:gd name="connsiteX7" fmla="*/ 6120 w 140346"/>
                    <a:gd name="connsiteY7" fmla="*/ 5814 h 134737"/>
                    <a:gd name="connsiteX8" fmla="*/ 1530 w 140346"/>
                    <a:gd name="connsiteY8" fmla="*/ 1530 h 134737"/>
                    <a:gd name="connsiteX9" fmla="*/ 2652 w 140346"/>
                    <a:gd name="connsiteY9" fmla="*/ 0 h 134737"/>
                    <a:gd name="connsiteX10" fmla="*/ 58138 w 140346"/>
                    <a:gd name="connsiteY10" fmla="*/ 0 h 134737"/>
                    <a:gd name="connsiteX11" fmla="*/ 59362 w 140346"/>
                    <a:gd name="connsiteY11" fmla="*/ 1428 h 134737"/>
                    <a:gd name="connsiteX12" fmla="*/ 54874 w 140346"/>
                    <a:gd name="connsiteY12" fmla="*/ 5610 h 134737"/>
                    <a:gd name="connsiteX13" fmla="*/ 49570 w 140346"/>
                    <a:gd name="connsiteY13" fmla="*/ 20807 h 134737"/>
                    <a:gd name="connsiteX14" fmla="*/ 74457 w 140346"/>
                    <a:gd name="connsiteY14" fmla="*/ 56608 h 134737"/>
                    <a:gd name="connsiteX15" fmla="*/ 95570 w 140346"/>
                    <a:gd name="connsiteY15" fmla="*/ 21113 h 134737"/>
                    <a:gd name="connsiteX16" fmla="*/ 88737 w 140346"/>
                    <a:gd name="connsiteY16" fmla="*/ 5814 h 134737"/>
                    <a:gd name="connsiteX17" fmla="*/ 83943 w 140346"/>
                    <a:gd name="connsiteY17" fmla="*/ 1734 h 134737"/>
                    <a:gd name="connsiteX18" fmla="*/ 85065 w 140346"/>
                    <a:gd name="connsiteY18" fmla="*/ 102 h 134737"/>
                    <a:gd name="connsiteX19" fmla="*/ 140347 w 140346"/>
                    <a:gd name="connsiteY19" fmla="*/ 102 h 134737"/>
                    <a:gd name="connsiteX20" fmla="*/ 135145 w 140346"/>
                    <a:gd name="connsiteY20" fmla="*/ 5304 h 134737"/>
                    <a:gd name="connsiteX21" fmla="*/ 102812 w 140346"/>
                    <a:gd name="connsiteY21" fmla="*/ 28457 h 134737"/>
                    <a:gd name="connsiteX22" fmla="*/ 77823 w 140346"/>
                    <a:gd name="connsiteY22" fmla="*/ 62116 h 134737"/>
                    <a:gd name="connsiteX23" fmla="*/ 117296 w 140346"/>
                    <a:gd name="connsiteY23" fmla="*/ 115461 h 134737"/>
                    <a:gd name="connsiteX24" fmla="*/ 135553 w 140346"/>
                    <a:gd name="connsiteY24" fmla="*/ 128822 h 134737"/>
                    <a:gd name="connsiteX25" fmla="*/ 140347 w 140346"/>
                    <a:gd name="connsiteY25" fmla="*/ 133004 h 134737"/>
                    <a:gd name="connsiteX26" fmla="*/ 139327 w 140346"/>
                    <a:gd name="connsiteY26" fmla="*/ 134738 h 134737"/>
                    <a:gd name="connsiteX27" fmla="*/ 80883 w 140346"/>
                    <a:gd name="connsiteY27" fmla="*/ 134738 h 134737"/>
                    <a:gd name="connsiteX28" fmla="*/ 86289 w 140346"/>
                    <a:gd name="connsiteY28" fmla="*/ 129230 h 134737"/>
                    <a:gd name="connsiteX29" fmla="*/ 91593 w 140346"/>
                    <a:gd name="connsiteY29" fmla="*/ 113625 h 134737"/>
                    <a:gd name="connsiteX30" fmla="*/ 65890 w 140346"/>
                    <a:gd name="connsiteY30" fmla="*/ 76396 h 134737"/>
                    <a:gd name="connsiteX31" fmla="*/ 44980 w 140346"/>
                    <a:gd name="connsiteY31" fmla="*/ 112911 h 134737"/>
                    <a:gd name="connsiteX32" fmla="*/ 51508 w 140346"/>
                    <a:gd name="connsiteY32" fmla="*/ 129128 h 134737"/>
                    <a:gd name="connsiteX33" fmla="*/ 55690 w 140346"/>
                    <a:gd name="connsiteY33" fmla="*/ 133310 h 134737"/>
                    <a:gd name="connsiteX34" fmla="*/ 54058 w 140346"/>
                    <a:gd name="connsiteY34" fmla="*/ 134738 h 134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40346" h="134737">
                      <a:moveTo>
                        <a:pt x="54058" y="134738"/>
                      </a:moveTo>
                      <a:cubicBezTo>
                        <a:pt x="36413" y="134738"/>
                        <a:pt x="18767" y="134738"/>
                        <a:pt x="1122" y="134738"/>
                      </a:cubicBezTo>
                      <a:cubicBezTo>
                        <a:pt x="714" y="134228"/>
                        <a:pt x="306" y="133718"/>
                        <a:pt x="0" y="133208"/>
                      </a:cubicBezTo>
                      <a:cubicBezTo>
                        <a:pt x="1530" y="131780"/>
                        <a:pt x="2754" y="129536"/>
                        <a:pt x="4488" y="129128"/>
                      </a:cubicBezTo>
                      <a:cubicBezTo>
                        <a:pt x="17849" y="126068"/>
                        <a:pt x="27539" y="117908"/>
                        <a:pt x="35597" y="107505"/>
                      </a:cubicBezTo>
                      <a:cubicBezTo>
                        <a:pt x="44674" y="95775"/>
                        <a:pt x="53650" y="83944"/>
                        <a:pt x="63136" y="71602"/>
                      </a:cubicBezTo>
                      <a:cubicBezTo>
                        <a:pt x="49468" y="53344"/>
                        <a:pt x="36515" y="34985"/>
                        <a:pt x="22439" y="17441"/>
                      </a:cubicBezTo>
                      <a:cubicBezTo>
                        <a:pt x="18461" y="12444"/>
                        <a:pt x="11526" y="9690"/>
                        <a:pt x="6120" y="5814"/>
                      </a:cubicBezTo>
                      <a:cubicBezTo>
                        <a:pt x="4386" y="4590"/>
                        <a:pt x="3060" y="2958"/>
                        <a:pt x="1530" y="1530"/>
                      </a:cubicBezTo>
                      <a:cubicBezTo>
                        <a:pt x="1938" y="1020"/>
                        <a:pt x="2346" y="510"/>
                        <a:pt x="2652" y="0"/>
                      </a:cubicBezTo>
                      <a:cubicBezTo>
                        <a:pt x="21113" y="0"/>
                        <a:pt x="39677" y="0"/>
                        <a:pt x="58138" y="0"/>
                      </a:cubicBezTo>
                      <a:cubicBezTo>
                        <a:pt x="58546" y="510"/>
                        <a:pt x="58954" y="1020"/>
                        <a:pt x="59362" y="1428"/>
                      </a:cubicBezTo>
                      <a:cubicBezTo>
                        <a:pt x="57934" y="2856"/>
                        <a:pt x="56608" y="4794"/>
                        <a:pt x="54874" y="5610"/>
                      </a:cubicBezTo>
                      <a:cubicBezTo>
                        <a:pt x="46306" y="9690"/>
                        <a:pt x="44572" y="13056"/>
                        <a:pt x="49570" y="20807"/>
                      </a:cubicBezTo>
                      <a:cubicBezTo>
                        <a:pt x="57220" y="32741"/>
                        <a:pt x="65686" y="44063"/>
                        <a:pt x="74457" y="56608"/>
                      </a:cubicBezTo>
                      <a:cubicBezTo>
                        <a:pt x="82923" y="44675"/>
                        <a:pt x="91389" y="34169"/>
                        <a:pt x="95570" y="21113"/>
                      </a:cubicBezTo>
                      <a:cubicBezTo>
                        <a:pt x="98120" y="13260"/>
                        <a:pt x="96183" y="9588"/>
                        <a:pt x="88737" y="5814"/>
                      </a:cubicBezTo>
                      <a:cubicBezTo>
                        <a:pt x="86901" y="4896"/>
                        <a:pt x="85575" y="3060"/>
                        <a:pt x="83943" y="1734"/>
                      </a:cubicBezTo>
                      <a:cubicBezTo>
                        <a:pt x="84351" y="1224"/>
                        <a:pt x="84657" y="612"/>
                        <a:pt x="85065" y="102"/>
                      </a:cubicBezTo>
                      <a:cubicBezTo>
                        <a:pt x="102710" y="102"/>
                        <a:pt x="120356" y="102"/>
                        <a:pt x="140347" y="102"/>
                      </a:cubicBezTo>
                      <a:cubicBezTo>
                        <a:pt x="137899" y="2652"/>
                        <a:pt x="136675" y="4998"/>
                        <a:pt x="135145" y="5304"/>
                      </a:cubicBezTo>
                      <a:cubicBezTo>
                        <a:pt x="121069" y="8568"/>
                        <a:pt x="111074" y="17238"/>
                        <a:pt x="102812" y="28457"/>
                      </a:cubicBezTo>
                      <a:cubicBezTo>
                        <a:pt x="94550" y="39473"/>
                        <a:pt x="86391" y="50590"/>
                        <a:pt x="77823" y="62116"/>
                      </a:cubicBezTo>
                      <a:cubicBezTo>
                        <a:pt x="90981" y="80170"/>
                        <a:pt x="103526" y="98223"/>
                        <a:pt x="117296" y="115461"/>
                      </a:cubicBezTo>
                      <a:cubicBezTo>
                        <a:pt x="121784" y="121172"/>
                        <a:pt x="129433" y="124334"/>
                        <a:pt x="135553" y="128822"/>
                      </a:cubicBezTo>
                      <a:cubicBezTo>
                        <a:pt x="137287" y="130046"/>
                        <a:pt x="138817" y="131576"/>
                        <a:pt x="140347" y="133004"/>
                      </a:cubicBezTo>
                      <a:cubicBezTo>
                        <a:pt x="140041" y="133616"/>
                        <a:pt x="139633" y="134126"/>
                        <a:pt x="139327" y="134738"/>
                      </a:cubicBezTo>
                      <a:cubicBezTo>
                        <a:pt x="120662" y="134738"/>
                        <a:pt x="101996" y="134738"/>
                        <a:pt x="80883" y="134738"/>
                      </a:cubicBezTo>
                      <a:cubicBezTo>
                        <a:pt x="83433" y="131984"/>
                        <a:pt x="84555" y="129944"/>
                        <a:pt x="86289" y="129230"/>
                      </a:cubicBezTo>
                      <a:cubicBezTo>
                        <a:pt x="95265" y="124946"/>
                        <a:pt x="96795" y="121784"/>
                        <a:pt x="91593" y="113625"/>
                      </a:cubicBezTo>
                      <a:cubicBezTo>
                        <a:pt x="83841" y="101589"/>
                        <a:pt x="75375" y="90063"/>
                        <a:pt x="65890" y="76396"/>
                      </a:cubicBezTo>
                      <a:cubicBezTo>
                        <a:pt x="58240" y="89655"/>
                        <a:pt x="50896" y="100977"/>
                        <a:pt x="44980" y="112911"/>
                      </a:cubicBezTo>
                      <a:cubicBezTo>
                        <a:pt x="41002" y="120968"/>
                        <a:pt x="43348" y="124844"/>
                        <a:pt x="51508" y="129128"/>
                      </a:cubicBezTo>
                      <a:cubicBezTo>
                        <a:pt x="53140" y="129944"/>
                        <a:pt x="54262" y="131882"/>
                        <a:pt x="55690" y="133310"/>
                      </a:cubicBezTo>
                      <a:cubicBezTo>
                        <a:pt x="55078" y="133616"/>
                        <a:pt x="54568" y="134228"/>
                        <a:pt x="54058" y="134738"/>
                      </a:cubicBezTo>
                      <a:close/>
                    </a:path>
                  </a:pathLst>
                </a:custGeom>
                <a:grpFill/>
                <a:ln w="1018" cap="flat">
                  <a:noFill/>
                  <a:prstDash val="solid"/>
                  <a:miter/>
                </a:ln>
              </p:spPr>
              <p:txBody>
                <a:bodyPr rtlCol="0" anchor="ctr"/>
                <a:lstStyle/>
                <a:p>
                  <a:endParaRPr lang="en-US"/>
                </a:p>
              </p:txBody>
            </p:sp>
            <p:sp>
              <p:nvSpPr>
                <p:cNvPr id="110" name="Freeform 109">
                  <a:extLst>
                    <a:ext uri="{FF2B5EF4-FFF2-40B4-BE49-F238E27FC236}">
                      <a16:creationId xmlns:a16="http://schemas.microsoft.com/office/drawing/2014/main" id="{E75A56C8-C3C8-064B-8F60-AC0F35E5F0B5}"/>
                    </a:ext>
                  </a:extLst>
                </p:cNvPr>
                <p:cNvSpPr/>
                <p:nvPr/>
              </p:nvSpPr>
              <p:spPr>
                <a:xfrm>
                  <a:off x="4934156" y="4783590"/>
                  <a:ext cx="78842" cy="167924"/>
                </a:xfrm>
                <a:custGeom>
                  <a:avLst/>
                  <a:gdLst>
                    <a:gd name="connsiteX0" fmla="*/ 78843 w 78842"/>
                    <a:gd name="connsiteY0" fmla="*/ 31109 h 167924"/>
                    <a:gd name="connsiteX1" fmla="*/ 78843 w 78842"/>
                    <a:gd name="connsiteY1" fmla="*/ 39881 h 167924"/>
                    <a:gd name="connsiteX2" fmla="*/ 58750 w 78842"/>
                    <a:gd name="connsiteY2" fmla="*/ 38963 h 167924"/>
                    <a:gd name="connsiteX3" fmla="*/ 40798 w 78842"/>
                    <a:gd name="connsiteY3" fmla="*/ 56098 h 167924"/>
                    <a:gd name="connsiteX4" fmla="*/ 40798 w 78842"/>
                    <a:gd name="connsiteY4" fmla="*/ 125660 h 167924"/>
                    <a:gd name="connsiteX5" fmla="*/ 41206 w 78842"/>
                    <a:gd name="connsiteY5" fmla="*/ 139430 h 167924"/>
                    <a:gd name="connsiteX6" fmla="*/ 71805 w 78842"/>
                    <a:gd name="connsiteY6" fmla="*/ 157585 h 167924"/>
                    <a:gd name="connsiteX7" fmla="*/ 77313 w 78842"/>
                    <a:gd name="connsiteY7" fmla="*/ 155341 h 167924"/>
                    <a:gd name="connsiteX8" fmla="*/ 78537 w 78842"/>
                    <a:gd name="connsiteY8" fmla="*/ 156871 h 167924"/>
                    <a:gd name="connsiteX9" fmla="*/ 75987 w 78842"/>
                    <a:gd name="connsiteY9" fmla="*/ 160441 h 167924"/>
                    <a:gd name="connsiteX10" fmla="*/ 39982 w 78842"/>
                    <a:gd name="connsiteY10" fmla="*/ 165235 h 167924"/>
                    <a:gd name="connsiteX11" fmla="*/ 22643 w 78842"/>
                    <a:gd name="connsiteY11" fmla="*/ 140450 h 167924"/>
                    <a:gd name="connsiteX12" fmla="*/ 22031 w 78842"/>
                    <a:gd name="connsiteY12" fmla="*/ 114237 h 167924"/>
                    <a:gd name="connsiteX13" fmla="*/ 22031 w 78842"/>
                    <a:gd name="connsiteY13" fmla="*/ 48041 h 167924"/>
                    <a:gd name="connsiteX14" fmla="*/ 12137 w 78842"/>
                    <a:gd name="connsiteY14" fmla="*/ 38249 h 167924"/>
                    <a:gd name="connsiteX15" fmla="*/ 0 w 78842"/>
                    <a:gd name="connsiteY15" fmla="*/ 38249 h 167924"/>
                    <a:gd name="connsiteX16" fmla="*/ 5304 w 78842"/>
                    <a:gd name="connsiteY16" fmla="*/ 31109 h 167924"/>
                    <a:gd name="connsiteX17" fmla="*/ 32435 w 78842"/>
                    <a:gd name="connsiteY17" fmla="*/ 4284 h 167924"/>
                    <a:gd name="connsiteX18" fmla="*/ 38759 w 78842"/>
                    <a:gd name="connsiteY18" fmla="*/ 0 h 167924"/>
                    <a:gd name="connsiteX19" fmla="*/ 40900 w 78842"/>
                    <a:gd name="connsiteY19" fmla="*/ 6834 h 167924"/>
                    <a:gd name="connsiteX20" fmla="*/ 40696 w 78842"/>
                    <a:gd name="connsiteY20" fmla="*/ 21215 h 167924"/>
                    <a:gd name="connsiteX21" fmla="*/ 49366 w 78842"/>
                    <a:gd name="connsiteY21" fmla="*/ 30599 h 167924"/>
                    <a:gd name="connsiteX22" fmla="*/ 74253 w 78842"/>
                    <a:gd name="connsiteY22" fmla="*/ 30803 h 167924"/>
                    <a:gd name="connsiteX23" fmla="*/ 78843 w 78842"/>
                    <a:gd name="connsiteY23" fmla="*/ 31109 h 167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8842" h="167924">
                      <a:moveTo>
                        <a:pt x="78843" y="31109"/>
                      </a:moveTo>
                      <a:cubicBezTo>
                        <a:pt x="78843" y="34169"/>
                        <a:pt x="78843" y="36515"/>
                        <a:pt x="78843" y="39881"/>
                      </a:cubicBezTo>
                      <a:cubicBezTo>
                        <a:pt x="72009" y="39575"/>
                        <a:pt x="65380" y="39167"/>
                        <a:pt x="58750" y="38963"/>
                      </a:cubicBezTo>
                      <a:cubicBezTo>
                        <a:pt x="41002" y="38249"/>
                        <a:pt x="40798" y="38453"/>
                        <a:pt x="40798" y="56098"/>
                      </a:cubicBezTo>
                      <a:cubicBezTo>
                        <a:pt x="40798" y="79252"/>
                        <a:pt x="40798" y="102405"/>
                        <a:pt x="40798" y="125660"/>
                      </a:cubicBezTo>
                      <a:cubicBezTo>
                        <a:pt x="40798" y="130250"/>
                        <a:pt x="40798" y="134840"/>
                        <a:pt x="41206" y="139430"/>
                      </a:cubicBezTo>
                      <a:cubicBezTo>
                        <a:pt x="42532" y="157891"/>
                        <a:pt x="54874" y="165235"/>
                        <a:pt x="71805" y="157585"/>
                      </a:cubicBezTo>
                      <a:cubicBezTo>
                        <a:pt x="73641" y="156769"/>
                        <a:pt x="75477" y="156157"/>
                        <a:pt x="77313" y="155341"/>
                      </a:cubicBezTo>
                      <a:cubicBezTo>
                        <a:pt x="77721" y="155851"/>
                        <a:pt x="78129" y="156361"/>
                        <a:pt x="78537" y="156871"/>
                      </a:cubicBezTo>
                      <a:cubicBezTo>
                        <a:pt x="77721" y="158095"/>
                        <a:pt x="77109" y="159625"/>
                        <a:pt x="75987" y="160441"/>
                      </a:cubicBezTo>
                      <a:cubicBezTo>
                        <a:pt x="64971" y="169213"/>
                        <a:pt x="52528" y="169519"/>
                        <a:pt x="39982" y="165235"/>
                      </a:cubicBezTo>
                      <a:cubicBezTo>
                        <a:pt x="28559" y="161359"/>
                        <a:pt x="23459" y="151976"/>
                        <a:pt x="22643" y="140450"/>
                      </a:cubicBezTo>
                      <a:cubicBezTo>
                        <a:pt x="22031" y="131780"/>
                        <a:pt x="22133" y="123008"/>
                        <a:pt x="22031" y="114237"/>
                      </a:cubicBezTo>
                      <a:cubicBezTo>
                        <a:pt x="21929" y="92205"/>
                        <a:pt x="22031" y="70072"/>
                        <a:pt x="22031" y="48041"/>
                      </a:cubicBezTo>
                      <a:cubicBezTo>
                        <a:pt x="22031" y="39167"/>
                        <a:pt x="21011" y="38351"/>
                        <a:pt x="12137" y="38249"/>
                      </a:cubicBezTo>
                      <a:cubicBezTo>
                        <a:pt x="8874" y="38249"/>
                        <a:pt x="5712" y="38249"/>
                        <a:pt x="0" y="38249"/>
                      </a:cubicBezTo>
                      <a:cubicBezTo>
                        <a:pt x="2550" y="34781"/>
                        <a:pt x="3468" y="32027"/>
                        <a:pt x="5304" y="31109"/>
                      </a:cubicBezTo>
                      <a:cubicBezTo>
                        <a:pt x="17033" y="24785"/>
                        <a:pt x="25703" y="15606"/>
                        <a:pt x="32435" y="4284"/>
                      </a:cubicBezTo>
                      <a:cubicBezTo>
                        <a:pt x="33659" y="2244"/>
                        <a:pt x="36617" y="1428"/>
                        <a:pt x="38759" y="0"/>
                      </a:cubicBezTo>
                      <a:cubicBezTo>
                        <a:pt x="39472" y="2244"/>
                        <a:pt x="40798" y="4488"/>
                        <a:pt x="40900" y="6834"/>
                      </a:cubicBezTo>
                      <a:cubicBezTo>
                        <a:pt x="41206" y="11628"/>
                        <a:pt x="41206" y="16421"/>
                        <a:pt x="40696" y="21215"/>
                      </a:cubicBezTo>
                      <a:cubicBezTo>
                        <a:pt x="40084" y="27743"/>
                        <a:pt x="43246" y="30497"/>
                        <a:pt x="49366" y="30599"/>
                      </a:cubicBezTo>
                      <a:cubicBezTo>
                        <a:pt x="57628" y="30701"/>
                        <a:pt x="65991" y="30701"/>
                        <a:pt x="74253" y="30803"/>
                      </a:cubicBezTo>
                      <a:cubicBezTo>
                        <a:pt x="75579" y="30803"/>
                        <a:pt x="76905" y="31007"/>
                        <a:pt x="78843" y="31109"/>
                      </a:cubicBezTo>
                      <a:close/>
                    </a:path>
                  </a:pathLst>
                </a:custGeom>
                <a:grpFill/>
                <a:ln w="1018" cap="flat">
                  <a:noFill/>
                  <a:prstDash val="solid"/>
                  <a:miter/>
                </a:ln>
              </p:spPr>
              <p:txBody>
                <a:bodyPr rtlCol="0" anchor="ctr"/>
                <a:lstStyle/>
                <a:p>
                  <a:endParaRPr lang="en-US"/>
                </a:p>
              </p:txBody>
            </p:sp>
          </p:grpSp>
          <p:grpSp>
            <p:nvGrpSpPr>
              <p:cNvPr id="100" name="Graphic 53">
                <a:extLst>
                  <a:ext uri="{FF2B5EF4-FFF2-40B4-BE49-F238E27FC236}">
                    <a16:creationId xmlns:a16="http://schemas.microsoft.com/office/drawing/2014/main" id="{408E1658-AE0C-694F-9295-7F7D14DCE726}"/>
                  </a:ext>
                </a:extLst>
              </p:cNvPr>
              <p:cNvGrpSpPr/>
              <p:nvPr/>
            </p:nvGrpSpPr>
            <p:grpSpPr>
              <a:xfrm>
                <a:off x="6543122" y="4054089"/>
                <a:ext cx="1466352" cy="356288"/>
                <a:chOff x="2695429" y="4758808"/>
                <a:chExt cx="793330" cy="192760"/>
              </a:xfrm>
              <a:grpFill/>
            </p:grpSpPr>
            <p:sp>
              <p:nvSpPr>
                <p:cNvPr id="102" name="Freeform 101">
                  <a:extLst>
                    <a:ext uri="{FF2B5EF4-FFF2-40B4-BE49-F238E27FC236}">
                      <a16:creationId xmlns:a16="http://schemas.microsoft.com/office/drawing/2014/main" id="{E9027B07-CE62-5B45-8072-349A3B7149C1}"/>
                    </a:ext>
                  </a:extLst>
                </p:cNvPr>
                <p:cNvSpPr/>
                <p:nvPr/>
              </p:nvSpPr>
              <p:spPr>
                <a:xfrm>
                  <a:off x="2695429" y="4758808"/>
                  <a:ext cx="168653" cy="192760"/>
                </a:xfrm>
                <a:custGeom>
                  <a:avLst/>
                  <a:gdLst>
                    <a:gd name="connsiteX0" fmla="*/ 19902 w 168653"/>
                    <a:gd name="connsiteY0" fmla="*/ 84145 h 192760"/>
                    <a:gd name="connsiteX1" fmla="*/ 112820 w 168653"/>
                    <a:gd name="connsiteY1" fmla="*/ 176452 h 192760"/>
                    <a:gd name="connsiteX2" fmla="*/ 161166 w 168653"/>
                    <a:gd name="connsiteY2" fmla="*/ 155135 h 192760"/>
                    <a:gd name="connsiteX3" fmla="*/ 165348 w 168653"/>
                    <a:gd name="connsiteY3" fmla="*/ 151055 h 192760"/>
                    <a:gd name="connsiteX4" fmla="*/ 168102 w 168653"/>
                    <a:gd name="connsiteY4" fmla="*/ 150851 h 192760"/>
                    <a:gd name="connsiteX5" fmla="*/ 168510 w 168653"/>
                    <a:gd name="connsiteY5" fmla="*/ 153605 h 192760"/>
                    <a:gd name="connsiteX6" fmla="*/ 164532 w 168653"/>
                    <a:gd name="connsiteY6" fmla="*/ 159623 h 192760"/>
                    <a:gd name="connsiteX7" fmla="*/ 54376 w 168653"/>
                    <a:gd name="connsiteY7" fmla="*/ 183796 h 192760"/>
                    <a:gd name="connsiteX8" fmla="*/ 522 w 168653"/>
                    <a:gd name="connsiteY8" fmla="*/ 106890 h 192760"/>
                    <a:gd name="connsiteX9" fmla="*/ 126080 w 168653"/>
                    <a:gd name="connsiteY9" fmla="*/ 4281 h 192760"/>
                    <a:gd name="connsiteX10" fmla="*/ 161064 w 168653"/>
                    <a:gd name="connsiteY10" fmla="*/ 29169 h 192760"/>
                    <a:gd name="connsiteX11" fmla="*/ 166062 w 168653"/>
                    <a:gd name="connsiteY11" fmla="*/ 50792 h 192760"/>
                    <a:gd name="connsiteX12" fmla="*/ 152089 w 168653"/>
                    <a:gd name="connsiteY12" fmla="*/ 62216 h 192760"/>
                    <a:gd name="connsiteX13" fmla="*/ 139543 w 168653"/>
                    <a:gd name="connsiteY13" fmla="*/ 50894 h 192760"/>
                    <a:gd name="connsiteX14" fmla="*/ 137197 w 168653"/>
                    <a:gd name="connsiteY14" fmla="*/ 38756 h 192760"/>
                    <a:gd name="connsiteX15" fmla="*/ 96195 w 168653"/>
                    <a:gd name="connsiteY15" fmla="*/ 9381 h 192760"/>
                    <a:gd name="connsiteX16" fmla="*/ 19800 w 168653"/>
                    <a:gd name="connsiteY16" fmla="*/ 81493 h 192760"/>
                    <a:gd name="connsiteX17" fmla="*/ 19902 w 168653"/>
                    <a:gd name="connsiteY17" fmla="*/ 84145 h 192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8653" h="192760">
                      <a:moveTo>
                        <a:pt x="19902" y="84145"/>
                      </a:moveTo>
                      <a:cubicBezTo>
                        <a:pt x="20106" y="138306"/>
                        <a:pt x="59476" y="177370"/>
                        <a:pt x="112820" y="176452"/>
                      </a:cubicBezTo>
                      <a:cubicBezTo>
                        <a:pt x="131996" y="176146"/>
                        <a:pt x="147907" y="168599"/>
                        <a:pt x="161166" y="155135"/>
                      </a:cubicBezTo>
                      <a:cubicBezTo>
                        <a:pt x="162594" y="153707"/>
                        <a:pt x="163818" y="152177"/>
                        <a:pt x="165348" y="151055"/>
                      </a:cubicBezTo>
                      <a:cubicBezTo>
                        <a:pt x="165960" y="150545"/>
                        <a:pt x="167592" y="150341"/>
                        <a:pt x="168102" y="150851"/>
                      </a:cubicBezTo>
                      <a:cubicBezTo>
                        <a:pt x="168612" y="151361"/>
                        <a:pt x="168816" y="152891"/>
                        <a:pt x="168510" y="153605"/>
                      </a:cubicBezTo>
                      <a:cubicBezTo>
                        <a:pt x="167388" y="155747"/>
                        <a:pt x="165960" y="157685"/>
                        <a:pt x="164532" y="159623"/>
                      </a:cubicBezTo>
                      <a:cubicBezTo>
                        <a:pt x="139849" y="191650"/>
                        <a:pt x="93543" y="202054"/>
                        <a:pt x="54376" y="183796"/>
                      </a:cubicBezTo>
                      <a:cubicBezTo>
                        <a:pt x="21840" y="168599"/>
                        <a:pt x="3888" y="142487"/>
                        <a:pt x="522" y="106890"/>
                      </a:cubicBezTo>
                      <a:cubicBezTo>
                        <a:pt x="-6923" y="26721"/>
                        <a:pt x="66718" y="-13874"/>
                        <a:pt x="126080" y="4281"/>
                      </a:cubicBezTo>
                      <a:cubicBezTo>
                        <a:pt x="140461" y="8667"/>
                        <a:pt x="152701" y="16317"/>
                        <a:pt x="161064" y="29169"/>
                      </a:cubicBezTo>
                      <a:cubicBezTo>
                        <a:pt x="165348" y="35696"/>
                        <a:pt x="168000" y="42734"/>
                        <a:pt x="166062" y="50792"/>
                      </a:cubicBezTo>
                      <a:cubicBezTo>
                        <a:pt x="164328" y="58034"/>
                        <a:pt x="158923" y="62420"/>
                        <a:pt x="152089" y="62216"/>
                      </a:cubicBezTo>
                      <a:cubicBezTo>
                        <a:pt x="145765" y="62114"/>
                        <a:pt x="141277" y="58034"/>
                        <a:pt x="139543" y="50894"/>
                      </a:cubicBezTo>
                      <a:cubicBezTo>
                        <a:pt x="138625" y="46916"/>
                        <a:pt x="138319" y="42734"/>
                        <a:pt x="137197" y="38756"/>
                      </a:cubicBezTo>
                      <a:cubicBezTo>
                        <a:pt x="132302" y="22437"/>
                        <a:pt x="116288" y="11115"/>
                        <a:pt x="96195" y="9381"/>
                      </a:cubicBezTo>
                      <a:cubicBezTo>
                        <a:pt x="50807" y="5403"/>
                        <a:pt x="21024" y="33555"/>
                        <a:pt x="19800" y="81493"/>
                      </a:cubicBezTo>
                      <a:cubicBezTo>
                        <a:pt x="19902" y="82411"/>
                        <a:pt x="19902" y="83227"/>
                        <a:pt x="19902" y="84145"/>
                      </a:cubicBezTo>
                      <a:close/>
                    </a:path>
                  </a:pathLst>
                </a:custGeom>
                <a:grpFill/>
                <a:ln w="1018" cap="flat">
                  <a:noFill/>
                  <a:prstDash val="solid"/>
                  <a:miter/>
                </a:ln>
              </p:spPr>
              <p:txBody>
                <a:bodyPr rtlCol="0" anchor="ctr"/>
                <a:lstStyle/>
                <a:p>
                  <a:endParaRPr lang="en-US"/>
                </a:p>
              </p:txBody>
            </p:sp>
            <p:sp>
              <p:nvSpPr>
                <p:cNvPr id="103" name="Freeform 102">
                  <a:extLst>
                    <a:ext uri="{FF2B5EF4-FFF2-40B4-BE49-F238E27FC236}">
                      <a16:creationId xmlns:a16="http://schemas.microsoft.com/office/drawing/2014/main" id="{0C31ABE2-F585-704B-B0BA-38C49A4D0AD9}"/>
                    </a:ext>
                  </a:extLst>
                </p:cNvPr>
                <p:cNvSpPr/>
                <p:nvPr/>
              </p:nvSpPr>
              <p:spPr>
                <a:xfrm>
                  <a:off x="3146634" y="4811790"/>
                  <a:ext cx="128757" cy="138488"/>
                </a:xfrm>
                <a:custGeom>
                  <a:avLst/>
                  <a:gdLst>
                    <a:gd name="connsiteX0" fmla="*/ 128758 w 128757"/>
                    <a:gd name="connsiteY0" fmla="*/ 129182 h 138488"/>
                    <a:gd name="connsiteX1" fmla="*/ 105808 w 128757"/>
                    <a:gd name="connsiteY1" fmla="*/ 137954 h 138488"/>
                    <a:gd name="connsiteX2" fmla="*/ 92855 w 128757"/>
                    <a:gd name="connsiteY2" fmla="*/ 114086 h 138488"/>
                    <a:gd name="connsiteX3" fmla="*/ 87347 w 128757"/>
                    <a:gd name="connsiteY3" fmla="*/ 119084 h 138488"/>
                    <a:gd name="connsiteX4" fmla="*/ 24619 w 128757"/>
                    <a:gd name="connsiteY4" fmla="*/ 136526 h 138488"/>
                    <a:gd name="connsiteX5" fmla="*/ 1058 w 128757"/>
                    <a:gd name="connsiteY5" fmla="*/ 113780 h 138488"/>
                    <a:gd name="connsiteX6" fmla="*/ 11360 w 128757"/>
                    <a:gd name="connsiteY6" fmla="*/ 80835 h 138488"/>
                    <a:gd name="connsiteX7" fmla="*/ 39001 w 128757"/>
                    <a:gd name="connsiteY7" fmla="*/ 66658 h 138488"/>
                    <a:gd name="connsiteX8" fmla="*/ 85205 w 128757"/>
                    <a:gd name="connsiteY8" fmla="*/ 57784 h 138488"/>
                    <a:gd name="connsiteX9" fmla="*/ 93773 w 128757"/>
                    <a:gd name="connsiteY9" fmla="*/ 48196 h 138488"/>
                    <a:gd name="connsiteX10" fmla="*/ 93773 w 128757"/>
                    <a:gd name="connsiteY10" fmla="*/ 44320 h 138488"/>
                    <a:gd name="connsiteX11" fmla="*/ 45835 w 128757"/>
                    <a:gd name="connsiteY11" fmla="*/ 7398 h 138488"/>
                    <a:gd name="connsiteX12" fmla="*/ 30025 w 128757"/>
                    <a:gd name="connsiteY12" fmla="*/ 25655 h 138488"/>
                    <a:gd name="connsiteX13" fmla="*/ 28597 w 128757"/>
                    <a:gd name="connsiteY13" fmla="*/ 35957 h 138488"/>
                    <a:gd name="connsiteX14" fmla="*/ 19418 w 128757"/>
                    <a:gd name="connsiteY14" fmla="*/ 42485 h 138488"/>
                    <a:gd name="connsiteX15" fmla="*/ 10748 w 128757"/>
                    <a:gd name="connsiteY15" fmla="*/ 36161 h 138488"/>
                    <a:gd name="connsiteX16" fmla="*/ 17480 w 128757"/>
                    <a:gd name="connsiteY16" fmla="*/ 12701 h 138488"/>
                    <a:gd name="connsiteX17" fmla="*/ 97139 w 128757"/>
                    <a:gd name="connsiteY17" fmla="*/ 8213 h 138488"/>
                    <a:gd name="connsiteX18" fmla="*/ 111622 w 128757"/>
                    <a:gd name="connsiteY18" fmla="*/ 35549 h 138488"/>
                    <a:gd name="connsiteX19" fmla="*/ 112642 w 128757"/>
                    <a:gd name="connsiteY19" fmla="*/ 105927 h 138488"/>
                    <a:gd name="connsiteX20" fmla="*/ 112642 w 128757"/>
                    <a:gd name="connsiteY20" fmla="*/ 118370 h 138488"/>
                    <a:gd name="connsiteX21" fmla="*/ 124066 w 128757"/>
                    <a:gd name="connsiteY21" fmla="*/ 129386 h 138488"/>
                    <a:gd name="connsiteX22" fmla="*/ 128758 w 128757"/>
                    <a:gd name="connsiteY22" fmla="*/ 129182 h 138488"/>
                    <a:gd name="connsiteX23" fmla="*/ 93467 w 128757"/>
                    <a:gd name="connsiteY23" fmla="*/ 82671 h 138488"/>
                    <a:gd name="connsiteX24" fmla="*/ 93365 w 128757"/>
                    <a:gd name="connsiteY24" fmla="*/ 70330 h 138488"/>
                    <a:gd name="connsiteX25" fmla="*/ 86021 w 128757"/>
                    <a:gd name="connsiteY25" fmla="*/ 63598 h 138488"/>
                    <a:gd name="connsiteX26" fmla="*/ 32167 w 128757"/>
                    <a:gd name="connsiteY26" fmla="*/ 79407 h 138488"/>
                    <a:gd name="connsiteX27" fmla="*/ 21763 w 128757"/>
                    <a:gd name="connsiteY27" fmla="*/ 108783 h 138488"/>
                    <a:gd name="connsiteX28" fmla="*/ 46039 w 128757"/>
                    <a:gd name="connsiteY28" fmla="*/ 127448 h 138488"/>
                    <a:gd name="connsiteX29" fmla="*/ 93467 w 128757"/>
                    <a:gd name="connsiteY29" fmla="*/ 82671 h 138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8757" h="138488">
                      <a:moveTo>
                        <a:pt x="128758" y="129182"/>
                      </a:moveTo>
                      <a:cubicBezTo>
                        <a:pt x="124576" y="136016"/>
                        <a:pt x="113866" y="139994"/>
                        <a:pt x="105808" y="137954"/>
                      </a:cubicBezTo>
                      <a:cubicBezTo>
                        <a:pt x="94079" y="134894"/>
                        <a:pt x="93977" y="124898"/>
                        <a:pt x="92855" y="114086"/>
                      </a:cubicBezTo>
                      <a:cubicBezTo>
                        <a:pt x="90509" y="116126"/>
                        <a:pt x="88877" y="117554"/>
                        <a:pt x="87347" y="119084"/>
                      </a:cubicBezTo>
                      <a:cubicBezTo>
                        <a:pt x="69498" y="136016"/>
                        <a:pt x="48487" y="141728"/>
                        <a:pt x="24619" y="136526"/>
                      </a:cubicBezTo>
                      <a:cubicBezTo>
                        <a:pt x="12482" y="133874"/>
                        <a:pt x="3812" y="126428"/>
                        <a:pt x="1058" y="113780"/>
                      </a:cubicBezTo>
                      <a:cubicBezTo>
                        <a:pt x="-1696" y="100929"/>
                        <a:pt x="650" y="88791"/>
                        <a:pt x="11360" y="80835"/>
                      </a:cubicBezTo>
                      <a:cubicBezTo>
                        <a:pt x="19622" y="74716"/>
                        <a:pt x="29209" y="69514"/>
                        <a:pt x="39001" y="66658"/>
                      </a:cubicBezTo>
                      <a:cubicBezTo>
                        <a:pt x="53994" y="62374"/>
                        <a:pt x="69702" y="60130"/>
                        <a:pt x="85205" y="57784"/>
                      </a:cubicBezTo>
                      <a:cubicBezTo>
                        <a:pt x="91427" y="56764"/>
                        <a:pt x="94385" y="54418"/>
                        <a:pt x="93773" y="48196"/>
                      </a:cubicBezTo>
                      <a:cubicBezTo>
                        <a:pt x="93671" y="46870"/>
                        <a:pt x="93773" y="45544"/>
                        <a:pt x="93773" y="44320"/>
                      </a:cubicBezTo>
                      <a:cubicBezTo>
                        <a:pt x="93569" y="15557"/>
                        <a:pt x="74087" y="564"/>
                        <a:pt x="45835" y="7398"/>
                      </a:cubicBezTo>
                      <a:cubicBezTo>
                        <a:pt x="35941" y="9743"/>
                        <a:pt x="31045" y="15557"/>
                        <a:pt x="30025" y="25655"/>
                      </a:cubicBezTo>
                      <a:cubicBezTo>
                        <a:pt x="29719" y="29123"/>
                        <a:pt x="29515" y="32693"/>
                        <a:pt x="28597" y="35957"/>
                      </a:cubicBezTo>
                      <a:cubicBezTo>
                        <a:pt x="27373" y="40342"/>
                        <a:pt x="23905" y="43504"/>
                        <a:pt x="19418" y="42485"/>
                      </a:cubicBezTo>
                      <a:cubicBezTo>
                        <a:pt x="16154" y="41668"/>
                        <a:pt x="12278" y="39017"/>
                        <a:pt x="10748" y="36161"/>
                      </a:cubicBezTo>
                      <a:cubicBezTo>
                        <a:pt x="7076" y="28919"/>
                        <a:pt x="10442" y="18923"/>
                        <a:pt x="17480" y="12701"/>
                      </a:cubicBezTo>
                      <a:cubicBezTo>
                        <a:pt x="34207" y="-1986"/>
                        <a:pt x="78983" y="-4536"/>
                        <a:pt x="97139" y="8213"/>
                      </a:cubicBezTo>
                      <a:cubicBezTo>
                        <a:pt x="106522" y="14843"/>
                        <a:pt x="111214" y="24635"/>
                        <a:pt x="111622" y="35549"/>
                      </a:cubicBezTo>
                      <a:cubicBezTo>
                        <a:pt x="112438" y="59008"/>
                        <a:pt x="112336" y="82467"/>
                        <a:pt x="112642" y="105927"/>
                      </a:cubicBezTo>
                      <a:cubicBezTo>
                        <a:pt x="112642" y="110108"/>
                        <a:pt x="112642" y="114188"/>
                        <a:pt x="112642" y="118370"/>
                      </a:cubicBezTo>
                      <a:cubicBezTo>
                        <a:pt x="112846" y="127346"/>
                        <a:pt x="114886" y="129284"/>
                        <a:pt x="124066" y="129386"/>
                      </a:cubicBezTo>
                      <a:cubicBezTo>
                        <a:pt x="125290" y="129182"/>
                        <a:pt x="126616" y="129182"/>
                        <a:pt x="128758" y="129182"/>
                      </a:cubicBezTo>
                      <a:close/>
                      <a:moveTo>
                        <a:pt x="93467" y="82671"/>
                      </a:moveTo>
                      <a:cubicBezTo>
                        <a:pt x="93467" y="78591"/>
                        <a:pt x="93671" y="74409"/>
                        <a:pt x="93365" y="70330"/>
                      </a:cubicBezTo>
                      <a:cubicBezTo>
                        <a:pt x="93059" y="65944"/>
                        <a:pt x="90305" y="63292"/>
                        <a:pt x="86021" y="63598"/>
                      </a:cubicBezTo>
                      <a:cubicBezTo>
                        <a:pt x="67050" y="65128"/>
                        <a:pt x="48282" y="68086"/>
                        <a:pt x="32167" y="79407"/>
                      </a:cubicBezTo>
                      <a:cubicBezTo>
                        <a:pt x="22171" y="86445"/>
                        <a:pt x="18602" y="97563"/>
                        <a:pt x="21763" y="108783"/>
                      </a:cubicBezTo>
                      <a:cubicBezTo>
                        <a:pt x="24721" y="119390"/>
                        <a:pt x="33799" y="126326"/>
                        <a:pt x="46039" y="127448"/>
                      </a:cubicBezTo>
                      <a:cubicBezTo>
                        <a:pt x="74903" y="130100"/>
                        <a:pt x="93875" y="112352"/>
                        <a:pt x="93467" y="82671"/>
                      </a:cubicBezTo>
                      <a:close/>
                    </a:path>
                  </a:pathLst>
                </a:custGeom>
                <a:grpFill/>
                <a:ln w="1018" cap="flat">
                  <a:noFill/>
                  <a:prstDash val="solid"/>
                  <a:miter/>
                </a:ln>
              </p:spPr>
              <p:txBody>
                <a:bodyPr rtlCol="0" anchor="ctr"/>
                <a:lstStyle/>
                <a:p>
                  <a:endParaRPr lang="en-US"/>
                </a:p>
              </p:txBody>
            </p:sp>
            <p:sp>
              <p:nvSpPr>
                <p:cNvPr id="104" name="Freeform 103">
                  <a:extLst>
                    <a:ext uri="{FF2B5EF4-FFF2-40B4-BE49-F238E27FC236}">
                      <a16:creationId xmlns:a16="http://schemas.microsoft.com/office/drawing/2014/main" id="{B872434C-2D0E-DB46-A19E-FBC00B884850}"/>
                    </a:ext>
                  </a:extLst>
                </p:cNvPr>
                <p:cNvSpPr/>
                <p:nvPr/>
              </p:nvSpPr>
              <p:spPr>
                <a:xfrm>
                  <a:off x="3006638" y="4811455"/>
                  <a:ext cx="119442" cy="138654"/>
                </a:xfrm>
                <a:custGeom>
                  <a:avLst/>
                  <a:gdLst>
                    <a:gd name="connsiteX0" fmla="*/ 115861 w 119442"/>
                    <a:gd name="connsiteY0" fmla="*/ 107485 h 138654"/>
                    <a:gd name="connsiteX1" fmla="*/ 117187 w 119442"/>
                    <a:gd name="connsiteY1" fmla="*/ 114931 h 138654"/>
                    <a:gd name="connsiteX2" fmla="*/ 65169 w 119442"/>
                    <a:gd name="connsiteY2" fmla="*/ 138594 h 138654"/>
                    <a:gd name="connsiteX3" fmla="*/ 809 w 119442"/>
                    <a:gd name="connsiteY3" fmla="*/ 57507 h 138654"/>
                    <a:gd name="connsiteX4" fmla="*/ 85466 w 119442"/>
                    <a:gd name="connsiteY4" fmla="*/ 2326 h 138654"/>
                    <a:gd name="connsiteX5" fmla="*/ 114739 w 119442"/>
                    <a:gd name="connsiteY5" fmla="*/ 41493 h 138654"/>
                    <a:gd name="connsiteX6" fmla="*/ 100867 w 119442"/>
                    <a:gd name="connsiteY6" fmla="*/ 58731 h 138654"/>
                    <a:gd name="connsiteX7" fmla="*/ 70167 w 119442"/>
                    <a:gd name="connsiteY7" fmla="*/ 64851 h 138654"/>
                    <a:gd name="connsiteX8" fmla="*/ 31612 w 119442"/>
                    <a:gd name="connsiteY8" fmla="*/ 66789 h 138654"/>
                    <a:gd name="connsiteX9" fmla="*/ 21208 w 119442"/>
                    <a:gd name="connsiteY9" fmla="*/ 79538 h 138654"/>
                    <a:gd name="connsiteX10" fmla="*/ 69657 w 119442"/>
                    <a:gd name="connsiteY10" fmla="*/ 123805 h 138654"/>
                    <a:gd name="connsiteX11" fmla="*/ 115861 w 119442"/>
                    <a:gd name="connsiteY11" fmla="*/ 107485 h 138654"/>
                    <a:gd name="connsiteX12" fmla="*/ 47931 w 119442"/>
                    <a:gd name="connsiteY12" fmla="*/ 60771 h 138654"/>
                    <a:gd name="connsiteX13" fmla="*/ 48033 w 119442"/>
                    <a:gd name="connsiteY13" fmla="*/ 61281 h 138654"/>
                    <a:gd name="connsiteX14" fmla="*/ 79142 w 119442"/>
                    <a:gd name="connsiteY14" fmla="*/ 58119 h 138654"/>
                    <a:gd name="connsiteX15" fmla="*/ 92402 w 119442"/>
                    <a:gd name="connsiteY15" fmla="*/ 48633 h 138654"/>
                    <a:gd name="connsiteX16" fmla="*/ 71594 w 119442"/>
                    <a:gd name="connsiteY16" fmla="*/ 7834 h 138654"/>
                    <a:gd name="connsiteX17" fmla="*/ 19984 w 119442"/>
                    <a:gd name="connsiteY17" fmla="*/ 54141 h 138654"/>
                    <a:gd name="connsiteX18" fmla="*/ 27124 w 119442"/>
                    <a:gd name="connsiteY18" fmla="*/ 60873 h 138654"/>
                    <a:gd name="connsiteX19" fmla="*/ 47931 w 119442"/>
                    <a:gd name="connsiteY19" fmla="*/ 60771 h 1386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9442" h="138654">
                      <a:moveTo>
                        <a:pt x="115861" y="107485"/>
                      </a:moveTo>
                      <a:cubicBezTo>
                        <a:pt x="121573" y="109423"/>
                        <a:pt x="119227" y="112177"/>
                        <a:pt x="117187" y="114931"/>
                      </a:cubicBezTo>
                      <a:cubicBezTo>
                        <a:pt x="104029" y="131965"/>
                        <a:pt x="86384" y="139410"/>
                        <a:pt x="65169" y="138594"/>
                      </a:cubicBezTo>
                      <a:cubicBezTo>
                        <a:pt x="22942" y="137064"/>
                        <a:pt x="-5209" y="101161"/>
                        <a:pt x="809" y="57507"/>
                      </a:cubicBezTo>
                      <a:cubicBezTo>
                        <a:pt x="7439" y="9568"/>
                        <a:pt x="51093" y="-6547"/>
                        <a:pt x="85466" y="2326"/>
                      </a:cubicBezTo>
                      <a:cubicBezTo>
                        <a:pt x="105253" y="7426"/>
                        <a:pt x="117085" y="23644"/>
                        <a:pt x="114739" y="41493"/>
                      </a:cubicBezTo>
                      <a:cubicBezTo>
                        <a:pt x="113617" y="50163"/>
                        <a:pt x="108925" y="56385"/>
                        <a:pt x="100867" y="58731"/>
                      </a:cubicBezTo>
                      <a:cubicBezTo>
                        <a:pt x="90872" y="61587"/>
                        <a:pt x="80570" y="63729"/>
                        <a:pt x="70167" y="64851"/>
                      </a:cubicBezTo>
                      <a:cubicBezTo>
                        <a:pt x="57417" y="66176"/>
                        <a:pt x="44463" y="66176"/>
                        <a:pt x="31612" y="66789"/>
                      </a:cubicBezTo>
                      <a:cubicBezTo>
                        <a:pt x="21922" y="67299"/>
                        <a:pt x="19780" y="69950"/>
                        <a:pt x="21208" y="79538"/>
                      </a:cubicBezTo>
                      <a:cubicBezTo>
                        <a:pt x="24472" y="102691"/>
                        <a:pt x="44668" y="121153"/>
                        <a:pt x="69657" y="123805"/>
                      </a:cubicBezTo>
                      <a:cubicBezTo>
                        <a:pt x="87710" y="125845"/>
                        <a:pt x="104029" y="122683"/>
                        <a:pt x="115861" y="107485"/>
                      </a:cubicBezTo>
                      <a:close/>
                      <a:moveTo>
                        <a:pt x="47931" y="60771"/>
                      </a:moveTo>
                      <a:cubicBezTo>
                        <a:pt x="47931" y="60975"/>
                        <a:pt x="47931" y="61077"/>
                        <a:pt x="48033" y="61281"/>
                      </a:cubicBezTo>
                      <a:cubicBezTo>
                        <a:pt x="58437" y="60261"/>
                        <a:pt x="68841" y="59547"/>
                        <a:pt x="79142" y="58119"/>
                      </a:cubicBezTo>
                      <a:cubicBezTo>
                        <a:pt x="84854" y="57303"/>
                        <a:pt x="89852" y="54345"/>
                        <a:pt x="92402" y="48633"/>
                      </a:cubicBezTo>
                      <a:cubicBezTo>
                        <a:pt x="99746" y="32110"/>
                        <a:pt x="89240" y="10996"/>
                        <a:pt x="71594" y="7834"/>
                      </a:cubicBezTo>
                      <a:cubicBezTo>
                        <a:pt x="36814" y="1510"/>
                        <a:pt x="20698" y="25888"/>
                        <a:pt x="19984" y="54141"/>
                      </a:cubicBezTo>
                      <a:cubicBezTo>
                        <a:pt x="19882" y="58629"/>
                        <a:pt x="22636" y="60771"/>
                        <a:pt x="27124" y="60873"/>
                      </a:cubicBezTo>
                      <a:cubicBezTo>
                        <a:pt x="34060" y="60771"/>
                        <a:pt x="40996" y="60771"/>
                        <a:pt x="47931" y="60771"/>
                      </a:cubicBezTo>
                      <a:close/>
                    </a:path>
                  </a:pathLst>
                </a:custGeom>
                <a:grpFill/>
                <a:ln w="1018" cap="flat">
                  <a:noFill/>
                  <a:prstDash val="solid"/>
                  <a:miter/>
                </a:ln>
              </p:spPr>
              <p:txBody>
                <a:bodyPr rtlCol="0" anchor="ctr"/>
                <a:lstStyle/>
                <a:p>
                  <a:endParaRPr lang="en-US"/>
                </a:p>
              </p:txBody>
            </p:sp>
            <p:sp>
              <p:nvSpPr>
                <p:cNvPr id="105" name="Freeform 104">
                  <a:extLst>
                    <a:ext uri="{FF2B5EF4-FFF2-40B4-BE49-F238E27FC236}">
                      <a16:creationId xmlns:a16="http://schemas.microsoft.com/office/drawing/2014/main" id="{AA2B74C8-43E1-F141-974F-4DE59EAEC365}"/>
                    </a:ext>
                  </a:extLst>
                </p:cNvPr>
                <p:cNvSpPr/>
                <p:nvPr/>
              </p:nvSpPr>
              <p:spPr>
                <a:xfrm>
                  <a:off x="3369825" y="4810984"/>
                  <a:ext cx="118933" cy="139286"/>
                </a:xfrm>
                <a:custGeom>
                  <a:avLst/>
                  <a:gdLst>
                    <a:gd name="connsiteX0" fmla="*/ 115781 w 118933"/>
                    <a:gd name="connsiteY0" fmla="*/ 108058 h 139286"/>
                    <a:gd name="connsiteX1" fmla="*/ 116597 w 118933"/>
                    <a:gd name="connsiteY1" fmla="*/ 115402 h 139286"/>
                    <a:gd name="connsiteX2" fmla="*/ 47852 w 118933"/>
                    <a:gd name="connsiteY2" fmla="*/ 136618 h 139286"/>
                    <a:gd name="connsiteX3" fmla="*/ 219 w 118933"/>
                    <a:gd name="connsiteY3" fmla="*/ 77561 h 139286"/>
                    <a:gd name="connsiteX4" fmla="*/ 2769 w 118933"/>
                    <a:gd name="connsiteY4" fmla="*/ 47268 h 139286"/>
                    <a:gd name="connsiteX5" fmla="*/ 91812 w 118933"/>
                    <a:gd name="connsiteY5" fmla="*/ 5245 h 139286"/>
                    <a:gd name="connsiteX6" fmla="*/ 114353 w 118933"/>
                    <a:gd name="connsiteY6" fmla="*/ 38904 h 139286"/>
                    <a:gd name="connsiteX7" fmla="*/ 100788 w 118933"/>
                    <a:gd name="connsiteY7" fmla="*/ 59100 h 139286"/>
                    <a:gd name="connsiteX8" fmla="*/ 68863 w 118933"/>
                    <a:gd name="connsiteY8" fmla="*/ 65526 h 139286"/>
                    <a:gd name="connsiteX9" fmla="*/ 30308 w 118933"/>
                    <a:gd name="connsiteY9" fmla="*/ 67464 h 139286"/>
                    <a:gd name="connsiteX10" fmla="*/ 20517 w 118933"/>
                    <a:gd name="connsiteY10" fmla="*/ 78989 h 139286"/>
                    <a:gd name="connsiteX11" fmla="*/ 69169 w 118933"/>
                    <a:gd name="connsiteY11" fmla="*/ 124480 h 139286"/>
                    <a:gd name="connsiteX12" fmla="*/ 115781 w 118933"/>
                    <a:gd name="connsiteY12" fmla="*/ 108058 h 139286"/>
                    <a:gd name="connsiteX13" fmla="*/ 47546 w 118933"/>
                    <a:gd name="connsiteY13" fmla="*/ 61242 h 139286"/>
                    <a:gd name="connsiteX14" fmla="*/ 47546 w 118933"/>
                    <a:gd name="connsiteY14" fmla="*/ 60630 h 139286"/>
                    <a:gd name="connsiteX15" fmla="*/ 63253 w 118933"/>
                    <a:gd name="connsiteY15" fmla="*/ 60528 h 139286"/>
                    <a:gd name="connsiteX16" fmla="*/ 78757 w 118933"/>
                    <a:gd name="connsiteY16" fmla="*/ 58488 h 139286"/>
                    <a:gd name="connsiteX17" fmla="*/ 92118 w 118933"/>
                    <a:gd name="connsiteY17" fmla="*/ 48288 h 139286"/>
                    <a:gd name="connsiteX18" fmla="*/ 68863 w 118933"/>
                    <a:gd name="connsiteY18" fmla="*/ 7795 h 139286"/>
                    <a:gd name="connsiteX19" fmla="*/ 19293 w 118933"/>
                    <a:gd name="connsiteY19" fmla="*/ 54714 h 139286"/>
                    <a:gd name="connsiteX20" fmla="*/ 26534 w 118933"/>
                    <a:gd name="connsiteY20" fmla="*/ 61242 h 139286"/>
                    <a:gd name="connsiteX21" fmla="*/ 47546 w 118933"/>
                    <a:gd name="connsiteY21" fmla="*/ 61242 h 139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8933" h="139286">
                      <a:moveTo>
                        <a:pt x="115781" y="108058"/>
                      </a:moveTo>
                      <a:cubicBezTo>
                        <a:pt x="120983" y="109996"/>
                        <a:pt x="118637" y="112648"/>
                        <a:pt x="116597" y="115402"/>
                      </a:cubicBezTo>
                      <a:cubicBezTo>
                        <a:pt x="101910" y="135598"/>
                        <a:pt x="74269" y="144063"/>
                        <a:pt x="47852" y="136618"/>
                      </a:cubicBezTo>
                      <a:cubicBezTo>
                        <a:pt x="21027" y="128968"/>
                        <a:pt x="1953" y="106019"/>
                        <a:pt x="219" y="77561"/>
                      </a:cubicBezTo>
                      <a:cubicBezTo>
                        <a:pt x="-393" y="67566"/>
                        <a:pt x="219" y="56958"/>
                        <a:pt x="2769" y="47268"/>
                      </a:cubicBezTo>
                      <a:cubicBezTo>
                        <a:pt x="12561" y="10039"/>
                        <a:pt x="56317" y="-10258"/>
                        <a:pt x="91812" y="5245"/>
                      </a:cubicBezTo>
                      <a:cubicBezTo>
                        <a:pt x="106397" y="11671"/>
                        <a:pt x="114455" y="23707"/>
                        <a:pt x="114353" y="38904"/>
                      </a:cubicBezTo>
                      <a:cubicBezTo>
                        <a:pt x="114251" y="48696"/>
                        <a:pt x="110171" y="56244"/>
                        <a:pt x="100788" y="59100"/>
                      </a:cubicBezTo>
                      <a:cubicBezTo>
                        <a:pt x="90384" y="62160"/>
                        <a:pt x="79674" y="64302"/>
                        <a:pt x="68863" y="65526"/>
                      </a:cubicBezTo>
                      <a:cubicBezTo>
                        <a:pt x="56113" y="66954"/>
                        <a:pt x="43160" y="66852"/>
                        <a:pt x="30308" y="67464"/>
                      </a:cubicBezTo>
                      <a:cubicBezTo>
                        <a:pt x="21639" y="67872"/>
                        <a:pt x="19599" y="70320"/>
                        <a:pt x="20517" y="78989"/>
                      </a:cubicBezTo>
                      <a:cubicBezTo>
                        <a:pt x="23067" y="102551"/>
                        <a:pt x="43568" y="121726"/>
                        <a:pt x="69169" y="124480"/>
                      </a:cubicBezTo>
                      <a:cubicBezTo>
                        <a:pt x="89568" y="126520"/>
                        <a:pt x="99564" y="123052"/>
                        <a:pt x="115781" y="108058"/>
                      </a:cubicBezTo>
                      <a:close/>
                      <a:moveTo>
                        <a:pt x="47546" y="61242"/>
                      </a:moveTo>
                      <a:cubicBezTo>
                        <a:pt x="47546" y="61038"/>
                        <a:pt x="47546" y="60834"/>
                        <a:pt x="47546" y="60630"/>
                      </a:cubicBezTo>
                      <a:cubicBezTo>
                        <a:pt x="52748" y="60630"/>
                        <a:pt x="58051" y="60936"/>
                        <a:pt x="63253" y="60528"/>
                      </a:cubicBezTo>
                      <a:cubicBezTo>
                        <a:pt x="68455" y="60222"/>
                        <a:pt x="73657" y="59610"/>
                        <a:pt x="78757" y="58488"/>
                      </a:cubicBezTo>
                      <a:cubicBezTo>
                        <a:pt x="84774" y="57264"/>
                        <a:pt x="89772" y="54408"/>
                        <a:pt x="92118" y="48288"/>
                      </a:cubicBezTo>
                      <a:cubicBezTo>
                        <a:pt x="99054" y="30541"/>
                        <a:pt x="87630" y="10753"/>
                        <a:pt x="68863" y="7795"/>
                      </a:cubicBezTo>
                      <a:cubicBezTo>
                        <a:pt x="40100" y="3205"/>
                        <a:pt x="16539" y="25543"/>
                        <a:pt x="19293" y="54714"/>
                      </a:cubicBezTo>
                      <a:cubicBezTo>
                        <a:pt x="19701" y="59304"/>
                        <a:pt x="22250" y="61242"/>
                        <a:pt x="26534" y="61242"/>
                      </a:cubicBezTo>
                      <a:cubicBezTo>
                        <a:pt x="33572" y="61242"/>
                        <a:pt x="40610" y="61242"/>
                        <a:pt x="47546" y="61242"/>
                      </a:cubicBezTo>
                      <a:close/>
                    </a:path>
                  </a:pathLst>
                </a:custGeom>
                <a:grpFill/>
                <a:ln w="1018" cap="flat">
                  <a:noFill/>
                  <a:prstDash val="solid"/>
                  <a:miter/>
                </a:ln>
              </p:spPr>
              <p:txBody>
                <a:bodyPr rtlCol="0" anchor="ctr"/>
                <a:lstStyle/>
                <a:p>
                  <a:endParaRPr lang="en-US"/>
                </a:p>
              </p:txBody>
            </p:sp>
            <p:sp>
              <p:nvSpPr>
                <p:cNvPr id="106" name="Freeform 105">
                  <a:extLst>
                    <a:ext uri="{FF2B5EF4-FFF2-40B4-BE49-F238E27FC236}">
                      <a16:creationId xmlns:a16="http://schemas.microsoft.com/office/drawing/2014/main" id="{29AD20AD-69EB-1648-A355-DF11A47F3BC3}"/>
                    </a:ext>
                  </a:extLst>
                </p:cNvPr>
                <p:cNvSpPr/>
                <p:nvPr/>
              </p:nvSpPr>
              <p:spPr>
                <a:xfrm>
                  <a:off x="2883318" y="4811962"/>
                  <a:ext cx="110091" cy="136149"/>
                </a:xfrm>
                <a:custGeom>
                  <a:avLst/>
                  <a:gdLst>
                    <a:gd name="connsiteX0" fmla="*/ 57424 w 110091"/>
                    <a:gd name="connsiteY0" fmla="*/ 136150 h 136149"/>
                    <a:gd name="connsiteX1" fmla="*/ 1326 w 110091"/>
                    <a:gd name="connsiteY1" fmla="*/ 136150 h 136149"/>
                    <a:gd name="connsiteX2" fmla="*/ 0 w 110091"/>
                    <a:gd name="connsiteY2" fmla="*/ 134926 h 136149"/>
                    <a:gd name="connsiteX3" fmla="*/ 4080 w 110091"/>
                    <a:gd name="connsiteY3" fmla="*/ 131152 h 136149"/>
                    <a:gd name="connsiteX4" fmla="*/ 19787 w 110091"/>
                    <a:gd name="connsiteY4" fmla="*/ 111262 h 136149"/>
                    <a:gd name="connsiteX5" fmla="*/ 19787 w 110091"/>
                    <a:gd name="connsiteY5" fmla="*/ 29665 h 136149"/>
                    <a:gd name="connsiteX6" fmla="*/ 3264 w 110091"/>
                    <a:gd name="connsiteY6" fmla="*/ 11509 h 136149"/>
                    <a:gd name="connsiteX7" fmla="*/ 102 w 110091"/>
                    <a:gd name="connsiteY7" fmla="*/ 10081 h 136149"/>
                    <a:gd name="connsiteX8" fmla="*/ 2346 w 110091"/>
                    <a:gd name="connsiteY8" fmla="*/ 6919 h 136149"/>
                    <a:gd name="connsiteX9" fmla="*/ 30293 w 110091"/>
                    <a:gd name="connsiteY9" fmla="*/ 188 h 136149"/>
                    <a:gd name="connsiteX10" fmla="*/ 37943 w 110091"/>
                    <a:gd name="connsiteY10" fmla="*/ 6919 h 136149"/>
                    <a:gd name="connsiteX11" fmla="*/ 38248 w 110091"/>
                    <a:gd name="connsiteY11" fmla="*/ 16711 h 136149"/>
                    <a:gd name="connsiteX12" fmla="*/ 39983 w 110091"/>
                    <a:gd name="connsiteY12" fmla="*/ 20485 h 136149"/>
                    <a:gd name="connsiteX13" fmla="*/ 43960 w 110091"/>
                    <a:gd name="connsiteY13" fmla="*/ 19159 h 136149"/>
                    <a:gd name="connsiteX14" fmla="*/ 57220 w 110091"/>
                    <a:gd name="connsiteY14" fmla="*/ 8551 h 136149"/>
                    <a:gd name="connsiteX15" fmla="*/ 95366 w 110091"/>
                    <a:gd name="connsiteY15" fmla="*/ 1922 h 136149"/>
                    <a:gd name="connsiteX16" fmla="*/ 109952 w 110091"/>
                    <a:gd name="connsiteY16" fmla="*/ 23137 h 136149"/>
                    <a:gd name="connsiteX17" fmla="*/ 98834 w 110091"/>
                    <a:gd name="connsiteY17" fmla="*/ 33847 h 136149"/>
                    <a:gd name="connsiteX18" fmla="*/ 87921 w 110091"/>
                    <a:gd name="connsiteY18" fmla="*/ 24157 h 136149"/>
                    <a:gd name="connsiteX19" fmla="*/ 72519 w 110091"/>
                    <a:gd name="connsiteY19" fmla="*/ 11101 h 136149"/>
                    <a:gd name="connsiteX20" fmla="*/ 48856 w 110091"/>
                    <a:gd name="connsiteY20" fmla="*/ 23035 h 136149"/>
                    <a:gd name="connsiteX21" fmla="*/ 38351 w 110091"/>
                    <a:gd name="connsiteY21" fmla="*/ 54042 h 136149"/>
                    <a:gd name="connsiteX22" fmla="*/ 38248 w 110091"/>
                    <a:gd name="connsiteY22" fmla="*/ 117382 h 136149"/>
                    <a:gd name="connsiteX23" fmla="*/ 52630 w 110091"/>
                    <a:gd name="connsiteY23" fmla="*/ 130948 h 136149"/>
                    <a:gd name="connsiteX24" fmla="*/ 57424 w 110091"/>
                    <a:gd name="connsiteY24" fmla="*/ 136150 h 136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0091" h="136149">
                      <a:moveTo>
                        <a:pt x="57424" y="136150"/>
                      </a:moveTo>
                      <a:cubicBezTo>
                        <a:pt x="38758" y="136150"/>
                        <a:pt x="20093" y="136150"/>
                        <a:pt x="1326" y="136150"/>
                      </a:cubicBezTo>
                      <a:cubicBezTo>
                        <a:pt x="918" y="135742"/>
                        <a:pt x="408" y="135334"/>
                        <a:pt x="0" y="134926"/>
                      </a:cubicBezTo>
                      <a:cubicBezTo>
                        <a:pt x="1326" y="133600"/>
                        <a:pt x="2448" y="131560"/>
                        <a:pt x="4080" y="131152"/>
                      </a:cubicBezTo>
                      <a:cubicBezTo>
                        <a:pt x="18869" y="127276"/>
                        <a:pt x="19787" y="126256"/>
                        <a:pt x="19787" y="111262"/>
                      </a:cubicBezTo>
                      <a:cubicBezTo>
                        <a:pt x="19787" y="84029"/>
                        <a:pt x="19685" y="56898"/>
                        <a:pt x="19787" y="29665"/>
                      </a:cubicBezTo>
                      <a:cubicBezTo>
                        <a:pt x="19787" y="17527"/>
                        <a:pt x="17849" y="10591"/>
                        <a:pt x="3264" y="11509"/>
                      </a:cubicBezTo>
                      <a:cubicBezTo>
                        <a:pt x="2244" y="11611"/>
                        <a:pt x="1224" y="10591"/>
                        <a:pt x="102" y="10081"/>
                      </a:cubicBezTo>
                      <a:cubicBezTo>
                        <a:pt x="816" y="8959"/>
                        <a:pt x="1428" y="7225"/>
                        <a:pt x="2346" y="6919"/>
                      </a:cubicBezTo>
                      <a:cubicBezTo>
                        <a:pt x="11628" y="4471"/>
                        <a:pt x="20909" y="2126"/>
                        <a:pt x="30293" y="188"/>
                      </a:cubicBezTo>
                      <a:cubicBezTo>
                        <a:pt x="35189" y="-832"/>
                        <a:pt x="37535" y="2432"/>
                        <a:pt x="37943" y="6919"/>
                      </a:cubicBezTo>
                      <a:cubicBezTo>
                        <a:pt x="38248" y="10183"/>
                        <a:pt x="37943" y="13447"/>
                        <a:pt x="38248" y="16711"/>
                      </a:cubicBezTo>
                      <a:cubicBezTo>
                        <a:pt x="38351" y="18037"/>
                        <a:pt x="39064" y="20077"/>
                        <a:pt x="39983" y="20485"/>
                      </a:cubicBezTo>
                      <a:cubicBezTo>
                        <a:pt x="41003" y="20893"/>
                        <a:pt x="42838" y="19975"/>
                        <a:pt x="43960" y="19159"/>
                      </a:cubicBezTo>
                      <a:cubicBezTo>
                        <a:pt x="48448" y="15691"/>
                        <a:pt x="52426" y="11611"/>
                        <a:pt x="57220" y="8551"/>
                      </a:cubicBezTo>
                      <a:cubicBezTo>
                        <a:pt x="68949" y="1004"/>
                        <a:pt x="81699" y="-1750"/>
                        <a:pt x="95366" y="1922"/>
                      </a:cubicBezTo>
                      <a:cubicBezTo>
                        <a:pt x="105362" y="4574"/>
                        <a:pt x="111074" y="13243"/>
                        <a:pt x="109952" y="23137"/>
                      </a:cubicBezTo>
                      <a:cubicBezTo>
                        <a:pt x="109238" y="29461"/>
                        <a:pt x="104852" y="33745"/>
                        <a:pt x="98834" y="33847"/>
                      </a:cubicBezTo>
                      <a:cubicBezTo>
                        <a:pt x="92715" y="33949"/>
                        <a:pt x="89145" y="30889"/>
                        <a:pt x="87921" y="24157"/>
                      </a:cubicBezTo>
                      <a:cubicBezTo>
                        <a:pt x="86391" y="15895"/>
                        <a:pt x="80985" y="11203"/>
                        <a:pt x="72519" y="11101"/>
                      </a:cubicBezTo>
                      <a:cubicBezTo>
                        <a:pt x="62626" y="10999"/>
                        <a:pt x="54874" y="15487"/>
                        <a:pt x="48856" y="23035"/>
                      </a:cubicBezTo>
                      <a:cubicBezTo>
                        <a:pt x="41614" y="32113"/>
                        <a:pt x="38555" y="42720"/>
                        <a:pt x="38351" y="54042"/>
                      </a:cubicBezTo>
                      <a:cubicBezTo>
                        <a:pt x="38045" y="75155"/>
                        <a:pt x="38147" y="96269"/>
                        <a:pt x="38248" y="117382"/>
                      </a:cubicBezTo>
                      <a:cubicBezTo>
                        <a:pt x="38248" y="125848"/>
                        <a:pt x="41614" y="128704"/>
                        <a:pt x="52630" y="130948"/>
                      </a:cubicBezTo>
                      <a:cubicBezTo>
                        <a:pt x="55690" y="131254"/>
                        <a:pt x="59362" y="130948"/>
                        <a:pt x="57424" y="136150"/>
                      </a:cubicBezTo>
                      <a:close/>
                    </a:path>
                  </a:pathLst>
                </a:custGeom>
                <a:grpFill/>
                <a:ln w="1018" cap="flat">
                  <a:noFill/>
                  <a:prstDash val="solid"/>
                  <a:miter/>
                </a:ln>
              </p:spPr>
              <p:txBody>
                <a:bodyPr rtlCol="0" anchor="ctr"/>
                <a:lstStyle/>
                <a:p>
                  <a:endParaRPr lang="en-US"/>
                </a:p>
              </p:txBody>
            </p:sp>
            <p:sp>
              <p:nvSpPr>
                <p:cNvPr id="107" name="Freeform 106">
                  <a:extLst>
                    <a:ext uri="{FF2B5EF4-FFF2-40B4-BE49-F238E27FC236}">
                      <a16:creationId xmlns:a16="http://schemas.microsoft.com/office/drawing/2014/main" id="{3C298DD2-254E-6D4B-A8F5-72E732DA7E6C}"/>
                    </a:ext>
                  </a:extLst>
                </p:cNvPr>
                <p:cNvSpPr/>
                <p:nvPr/>
              </p:nvSpPr>
              <p:spPr>
                <a:xfrm>
                  <a:off x="3278553" y="4783692"/>
                  <a:ext cx="77109" cy="166413"/>
                </a:xfrm>
                <a:custGeom>
                  <a:avLst/>
                  <a:gdLst>
                    <a:gd name="connsiteX0" fmla="*/ 76497 w 77109"/>
                    <a:gd name="connsiteY0" fmla="*/ 156055 h 166413"/>
                    <a:gd name="connsiteX1" fmla="*/ 39371 w 77109"/>
                    <a:gd name="connsiteY1" fmla="*/ 164317 h 166413"/>
                    <a:gd name="connsiteX2" fmla="*/ 20501 w 77109"/>
                    <a:gd name="connsiteY2" fmla="*/ 135860 h 166413"/>
                    <a:gd name="connsiteX3" fmla="*/ 20399 w 77109"/>
                    <a:gd name="connsiteY3" fmla="*/ 58954 h 166413"/>
                    <a:gd name="connsiteX4" fmla="*/ 20399 w 77109"/>
                    <a:gd name="connsiteY4" fmla="*/ 54364 h 166413"/>
                    <a:gd name="connsiteX5" fmla="*/ 4692 w 77109"/>
                    <a:gd name="connsiteY5" fmla="*/ 37841 h 166413"/>
                    <a:gd name="connsiteX6" fmla="*/ 0 w 77109"/>
                    <a:gd name="connsiteY6" fmla="*/ 35699 h 166413"/>
                    <a:gd name="connsiteX7" fmla="*/ 2856 w 77109"/>
                    <a:gd name="connsiteY7" fmla="*/ 31211 h 166413"/>
                    <a:gd name="connsiteX8" fmla="*/ 31313 w 77109"/>
                    <a:gd name="connsiteY8" fmla="*/ 3162 h 166413"/>
                    <a:gd name="connsiteX9" fmla="*/ 37025 w 77109"/>
                    <a:gd name="connsiteY9" fmla="*/ 0 h 166413"/>
                    <a:gd name="connsiteX10" fmla="*/ 39065 w 77109"/>
                    <a:gd name="connsiteY10" fmla="*/ 5508 h 166413"/>
                    <a:gd name="connsiteX11" fmla="*/ 38963 w 77109"/>
                    <a:gd name="connsiteY11" fmla="*/ 21113 h 166413"/>
                    <a:gd name="connsiteX12" fmla="*/ 47326 w 77109"/>
                    <a:gd name="connsiteY12" fmla="*/ 30089 h 166413"/>
                    <a:gd name="connsiteX13" fmla="*/ 76701 w 77109"/>
                    <a:gd name="connsiteY13" fmla="*/ 30089 h 166413"/>
                    <a:gd name="connsiteX14" fmla="*/ 77109 w 77109"/>
                    <a:gd name="connsiteY14" fmla="*/ 38657 h 166413"/>
                    <a:gd name="connsiteX15" fmla="*/ 56098 w 77109"/>
                    <a:gd name="connsiteY15" fmla="*/ 38657 h 166413"/>
                    <a:gd name="connsiteX16" fmla="*/ 38963 w 77109"/>
                    <a:gd name="connsiteY16" fmla="*/ 54568 h 166413"/>
                    <a:gd name="connsiteX17" fmla="*/ 38963 w 77109"/>
                    <a:gd name="connsiteY17" fmla="*/ 127598 h 166413"/>
                    <a:gd name="connsiteX18" fmla="*/ 39677 w 77109"/>
                    <a:gd name="connsiteY18" fmla="*/ 139940 h 166413"/>
                    <a:gd name="connsiteX19" fmla="*/ 69460 w 77109"/>
                    <a:gd name="connsiteY19" fmla="*/ 156259 h 166413"/>
                    <a:gd name="connsiteX20" fmla="*/ 75885 w 77109"/>
                    <a:gd name="connsiteY20" fmla="*/ 154117 h 166413"/>
                    <a:gd name="connsiteX21" fmla="*/ 76497 w 77109"/>
                    <a:gd name="connsiteY21" fmla="*/ 156055 h 166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7109" h="166413">
                      <a:moveTo>
                        <a:pt x="76497" y="156055"/>
                      </a:moveTo>
                      <a:cubicBezTo>
                        <a:pt x="68644" y="165643"/>
                        <a:pt x="53446" y="169009"/>
                        <a:pt x="39371" y="164317"/>
                      </a:cubicBezTo>
                      <a:cubicBezTo>
                        <a:pt x="27641" y="160441"/>
                        <a:pt x="20705" y="150446"/>
                        <a:pt x="20501" y="135860"/>
                      </a:cubicBezTo>
                      <a:cubicBezTo>
                        <a:pt x="20195" y="110259"/>
                        <a:pt x="20399" y="84556"/>
                        <a:pt x="20399" y="58954"/>
                      </a:cubicBezTo>
                      <a:cubicBezTo>
                        <a:pt x="20399" y="57424"/>
                        <a:pt x="20399" y="55894"/>
                        <a:pt x="20399" y="54364"/>
                      </a:cubicBezTo>
                      <a:cubicBezTo>
                        <a:pt x="20297" y="39779"/>
                        <a:pt x="22235" y="36821"/>
                        <a:pt x="4692" y="37841"/>
                      </a:cubicBezTo>
                      <a:cubicBezTo>
                        <a:pt x="3162" y="37943"/>
                        <a:pt x="1530" y="36515"/>
                        <a:pt x="0" y="35699"/>
                      </a:cubicBezTo>
                      <a:cubicBezTo>
                        <a:pt x="918" y="34169"/>
                        <a:pt x="1530" y="31925"/>
                        <a:pt x="2856" y="31211"/>
                      </a:cubicBezTo>
                      <a:cubicBezTo>
                        <a:pt x="15299" y="24785"/>
                        <a:pt x="24377" y="15198"/>
                        <a:pt x="31313" y="3162"/>
                      </a:cubicBezTo>
                      <a:cubicBezTo>
                        <a:pt x="32231" y="1530"/>
                        <a:pt x="35087" y="1020"/>
                        <a:pt x="37025" y="0"/>
                      </a:cubicBezTo>
                      <a:cubicBezTo>
                        <a:pt x="37739" y="1836"/>
                        <a:pt x="38963" y="3672"/>
                        <a:pt x="39065" y="5508"/>
                      </a:cubicBezTo>
                      <a:cubicBezTo>
                        <a:pt x="39269" y="10710"/>
                        <a:pt x="39269" y="15912"/>
                        <a:pt x="38963" y="21113"/>
                      </a:cubicBezTo>
                      <a:cubicBezTo>
                        <a:pt x="38555" y="27233"/>
                        <a:pt x="41308" y="30089"/>
                        <a:pt x="47326" y="30089"/>
                      </a:cubicBezTo>
                      <a:cubicBezTo>
                        <a:pt x="56914" y="30089"/>
                        <a:pt x="66502" y="30089"/>
                        <a:pt x="76701" y="30089"/>
                      </a:cubicBezTo>
                      <a:cubicBezTo>
                        <a:pt x="76803" y="33353"/>
                        <a:pt x="76905" y="35801"/>
                        <a:pt x="77109" y="38657"/>
                      </a:cubicBezTo>
                      <a:cubicBezTo>
                        <a:pt x="69867" y="38657"/>
                        <a:pt x="62932" y="38861"/>
                        <a:pt x="56098" y="38657"/>
                      </a:cubicBezTo>
                      <a:cubicBezTo>
                        <a:pt x="39677" y="37943"/>
                        <a:pt x="38963" y="38555"/>
                        <a:pt x="38963" y="54568"/>
                      </a:cubicBezTo>
                      <a:cubicBezTo>
                        <a:pt x="38963" y="78946"/>
                        <a:pt x="38963" y="103221"/>
                        <a:pt x="38963" y="127598"/>
                      </a:cubicBezTo>
                      <a:cubicBezTo>
                        <a:pt x="38963" y="131678"/>
                        <a:pt x="39167" y="135860"/>
                        <a:pt x="39677" y="139940"/>
                      </a:cubicBezTo>
                      <a:cubicBezTo>
                        <a:pt x="41921" y="156667"/>
                        <a:pt x="53854" y="163093"/>
                        <a:pt x="69460" y="156259"/>
                      </a:cubicBezTo>
                      <a:cubicBezTo>
                        <a:pt x="71499" y="155341"/>
                        <a:pt x="73743" y="154831"/>
                        <a:pt x="75885" y="154117"/>
                      </a:cubicBezTo>
                      <a:cubicBezTo>
                        <a:pt x="76089" y="154831"/>
                        <a:pt x="76293" y="155443"/>
                        <a:pt x="76497" y="156055"/>
                      </a:cubicBezTo>
                      <a:close/>
                    </a:path>
                  </a:pathLst>
                </a:custGeom>
                <a:grpFill/>
                <a:ln w="1018" cap="flat">
                  <a:noFill/>
                  <a:prstDash val="solid"/>
                  <a:miter/>
                </a:ln>
              </p:spPr>
              <p:txBody>
                <a:bodyPr rtlCol="0" anchor="ctr"/>
                <a:lstStyle/>
                <a:p>
                  <a:endParaRPr lang="en-US"/>
                </a:p>
              </p:txBody>
            </p:sp>
          </p:grpSp>
          <p:sp>
            <p:nvSpPr>
              <p:cNvPr id="101" name="Freeform 100">
                <a:extLst>
                  <a:ext uri="{FF2B5EF4-FFF2-40B4-BE49-F238E27FC236}">
                    <a16:creationId xmlns:a16="http://schemas.microsoft.com/office/drawing/2014/main" id="{81016DF6-4EDA-F142-975E-B638675FBDD0}"/>
                  </a:ext>
                </a:extLst>
              </p:cNvPr>
              <p:cNvSpPr/>
              <p:nvPr/>
            </p:nvSpPr>
            <p:spPr>
              <a:xfrm>
                <a:off x="10138701" y="4151399"/>
                <a:ext cx="220772" cy="256281"/>
              </a:xfrm>
              <a:custGeom>
                <a:avLst/>
                <a:gdLst>
                  <a:gd name="connsiteX0" fmla="*/ 115861 w 119443"/>
                  <a:gd name="connsiteY0" fmla="*/ 107485 h 138654"/>
                  <a:gd name="connsiteX1" fmla="*/ 117187 w 119443"/>
                  <a:gd name="connsiteY1" fmla="*/ 114931 h 138654"/>
                  <a:gd name="connsiteX2" fmla="*/ 65169 w 119443"/>
                  <a:gd name="connsiteY2" fmla="*/ 138594 h 138654"/>
                  <a:gd name="connsiteX3" fmla="*/ 809 w 119443"/>
                  <a:gd name="connsiteY3" fmla="*/ 57507 h 138654"/>
                  <a:gd name="connsiteX4" fmla="*/ 85466 w 119443"/>
                  <a:gd name="connsiteY4" fmla="*/ 2326 h 138654"/>
                  <a:gd name="connsiteX5" fmla="*/ 114739 w 119443"/>
                  <a:gd name="connsiteY5" fmla="*/ 41493 h 138654"/>
                  <a:gd name="connsiteX6" fmla="*/ 100868 w 119443"/>
                  <a:gd name="connsiteY6" fmla="*/ 58731 h 138654"/>
                  <a:gd name="connsiteX7" fmla="*/ 70167 w 119443"/>
                  <a:gd name="connsiteY7" fmla="*/ 64851 h 138654"/>
                  <a:gd name="connsiteX8" fmla="*/ 31612 w 119443"/>
                  <a:gd name="connsiteY8" fmla="*/ 66789 h 138654"/>
                  <a:gd name="connsiteX9" fmla="*/ 21208 w 119443"/>
                  <a:gd name="connsiteY9" fmla="*/ 79538 h 138654"/>
                  <a:gd name="connsiteX10" fmla="*/ 69657 w 119443"/>
                  <a:gd name="connsiteY10" fmla="*/ 123805 h 138654"/>
                  <a:gd name="connsiteX11" fmla="*/ 115861 w 119443"/>
                  <a:gd name="connsiteY11" fmla="*/ 107485 h 138654"/>
                  <a:gd name="connsiteX12" fmla="*/ 48033 w 119443"/>
                  <a:gd name="connsiteY12" fmla="*/ 60771 h 138654"/>
                  <a:gd name="connsiteX13" fmla="*/ 48136 w 119443"/>
                  <a:gd name="connsiteY13" fmla="*/ 61281 h 138654"/>
                  <a:gd name="connsiteX14" fmla="*/ 79244 w 119443"/>
                  <a:gd name="connsiteY14" fmla="*/ 58119 h 138654"/>
                  <a:gd name="connsiteX15" fmla="*/ 92504 w 119443"/>
                  <a:gd name="connsiteY15" fmla="*/ 48633 h 138654"/>
                  <a:gd name="connsiteX16" fmla="*/ 71697 w 119443"/>
                  <a:gd name="connsiteY16" fmla="*/ 7834 h 138654"/>
                  <a:gd name="connsiteX17" fmla="*/ 20087 w 119443"/>
                  <a:gd name="connsiteY17" fmla="*/ 54141 h 138654"/>
                  <a:gd name="connsiteX18" fmla="*/ 27226 w 119443"/>
                  <a:gd name="connsiteY18" fmla="*/ 60873 h 138654"/>
                  <a:gd name="connsiteX19" fmla="*/ 48033 w 119443"/>
                  <a:gd name="connsiteY19" fmla="*/ 60771 h 1386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9443" h="138654">
                    <a:moveTo>
                      <a:pt x="115861" y="107485"/>
                    </a:moveTo>
                    <a:cubicBezTo>
                      <a:pt x="121573" y="109423"/>
                      <a:pt x="119227" y="112177"/>
                      <a:pt x="117187" y="114931"/>
                    </a:cubicBezTo>
                    <a:cubicBezTo>
                      <a:pt x="104029" y="131965"/>
                      <a:pt x="86384" y="139410"/>
                      <a:pt x="65169" y="138594"/>
                    </a:cubicBezTo>
                    <a:cubicBezTo>
                      <a:pt x="22942" y="137064"/>
                      <a:pt x="-5209" y="101161"/>
                      <a:pt x="809" y="57507"/>
                    </a:cubicBezTo>
                    <a:cubicBezTo>
                      <a:pt x="7439" y="9568"/>
                      <a:pt x="51093" y="-6547"/>
                      <a:pt x="85466" y="2326"/>
                    </a:cubicBezTo>
                    <a:cubicBezTo>
                      <a:pt x="105253" y="7426"/>
                      <a:pt x="117085" y="23644"/>
                      <a:pt x="114739" y="41493"/>
                    </a:cubicBezTo>
                    <a:cubicBezTo>
                      <a:pt x="113617" y="50163"/>
                      <a:pt x="108925" y="56385"/>
                      <a:pt x="100868" y="58731"/>
                    </a:cubicBezTo>
                    <a:cubicBezTo>
                      <a:pt x="90872" y="61587"/>
                      <a:pt x="80570" y="63729"/>
                      <a:pt x="70167" y="64851"/>
                    </a:cubicBezTo>
                    <a:cubicBezTo>
                      <a:pt x="57417" y="66176"/>
                      <a:pt x="44464" y="66176"/>
                      <a:pt x="31612" y="66789"/>
                    </a:cubicBezTo>
                    <a:cubicBezTo>
                      <a:pt x="21922" y="67299"/>
                      <a:pt x="19781" y="69950"/>
                      <a:pt x="21208" y="79538"/>
                    </a:cubicBezTo>
                    <a:cubicBezTo>
                      <a:pt x="24472" y="102691"/>
                      <a:pt x="44668" y="121153"/>
                      <a:pt x="69657" y="123805"/>
                    </a:cubicBezTo>
                    <a:cubicBezTo>
                      <a:pt x="87710" y="125845"/>
                      <a:pt x="104029" y="122683"/>
                      <a:pt x="115861" y="107485"/>
                    </a:cubicBezTo>
                    <a:close/>
                    <a:moveTo>
                      <a:pt x="48033" y="60771"/>
                    </a:moveTo>
                    <a:cubicBezTo>
                      <a:pt x="48033" y="60975"/>
                      <a:pt x="48033" y="61077"/>
                      <a:pt x="48136" y="61281"/>
                    </a:cubicBezTo>
                    <a:cubicBezTo>
                      <a:pt x="58539" y="60261"/>
                      <a:pt x="68943" y="59547"/>
                      <a:pt x="79244" y="58119"/>
                    </a:cubicBezTo>
                    <a:cubicBezTo>
                      <a:pt x="84956" y="57303"/>
                      <a:pt x="89954" y="54345"/>
                      <a:pt x="92504" y="48633"/>
                    </a:cubicBezTo>
                    <a:cubicBezTo>
                      <a:pt x="99848" y="32110"/>
                      <a:pt x="89342" y="10996"/>
                      <a:pt x="71697" y="7834"/>
                    </a:cubicBezTo>
                    <a:cubicBezTo>
                      <a:pt x="36916" y="1510"/>
                      <a:pt x="20801" y="25888"/>
                      <a:pt x="20087" y="54141"/>
                    </a:cubicBezTo>
                    <a:cubicBezTo>
                      <a:pt x="19984" y="58629"/>
                      <a:pt x="22738" y="60771"/>
                      <a:pt x="27226" y="60873"/>
                    </a:cubicBezTo>
                    <a:cubicBezTo>
                      <a:pt x="34060" y="60771"/>
                      <a:pt x="40996" y="60771"/>
                      <a:pt x="48033" y="60771"/>
                    </a:cubicBezTo>
                    <a:close/>
                  </a:path>
                </a:pathLst>
              </a:custGeom>
              <a:grpFill/>
              <a:ln w="1018" cap="flat">
                <a:noFill/>
                <a:prstDash val="solid"/>
                <a:miter/>
              </a:ln>
            </p:spPr>
            <p:txBody>
              <a:bodyPr rtlCol="0" anchor="ctr"/>
              <a:lstStyle/>
              <a:p>
                <a:endParaRPr lang="en-US"/>
              </a:p>
            </p:txBody>
          </p:sp>
        </p:grpSp>
        <p:grpSp>
          <p:nvGrpSpPr>
            <p:cNvPr id="117" name="Group 116">
              <a:extLst>
                <a:ext uri="{FF2B5EF4-FFF2-40B4-BE49-F238E27FC236}">
                  <a16:creationId xmlns:a16="http://schemas.microsoft.com/office/drawing/2014/main" id="{DE5BA7E2-82D1-D14B-92C2-1DF6258767F6}"/>
                </a:ext>
              </a:extLst>
            </p:cNvPr>
            <p:cNvGrpSpPr/>
            <p:nvPr/>
          </p:nvGrpSpPr>
          <p:grpSpPr>
            <a:xfrm>
              <a:off x="3403128" y="3057128"/>
              <a:ext cx="5484428" cy="746785"/>
              <a:chOff x="3403128" y="3057128"/>
              <a:chExt cx="5484428" cy="746785"/>
            </a:xfrm>
            <a:solidFill>
              <a:schemeClr val="bg1"/>
            </a:solidFill>
          </p:grpSpPr>
          <p:sp>
            <p:nvSpPr>
              <p:cNvPr id="118" name="Freeform 117">
                <a:extLst>
                  <a:ext uri="{FF2B5EF4-FFF2-40B4-BE49-F238E27FC236}">
                    <a16:creationId xmlns:a16="http://schemas.microsoft.com/office/drawing/2014/main" id="{4CFD83B3-B9D3-C946-85D6-0FD75CBC7424}"/>
                  </a:ext>
                </a:extLst>
              </p:cNvPr>
              <p:cNvSpPr/>
              <p:nvPr/>
            </p:nvSpPr>
            <p:spPr>
              <a:xfrm>
                <a:off x="7266913" y="3231058"/>
                <a:ext cx="395259" cy="572855"/>
              </a:xfrm>
              <a:custGeom>
                <a:avLst/>
                <a:gdLst>
                  <a:gd name="connsiteX0" fmla="*/ 151508 w 213844"/>
                  <a:gd name="connsiteY0" fmla="*/ 6525 h 309928"/>
                  <a:gd name="connsiteX1" fmla="*/ 151508 w 213844"/>
                  <a:gd name="connsiteY1" fmla="*/ 29871 h 309928"/>
                  <a:gd name="connsiteX2" fmla="*/ 150589 w 213844"/>
                  <a:gd name="connsiteY2" fmla="*/ 29871 h 309928"/>
                  <a:gd name="connsiteX3" fmla="*/ 90904 w 213844"/>
                  <a:gd name="connsiteY3" fmla="*/ 0 h 309928"/>
                  <a:gd name="connsiteX4" fmla="*/ 0 w 213844"/>
                  <a:gd name="connsiteY4" fmla="*/ 109902 h 309928"/>
                  <a:gd name="connsiteX5" fmla="*/ 90904 w 213844"/>
                  <a:gd name="connsiteY5" fmla="*/ 219805 h 309928"/>
                  <a:gd name="connsiteX6" fmla="*/ 150589 w 213844"/>
                  <a:gd name="connsiteY6" fmla="*/ 189933 h 309928"/>
                  <a:gd name="connsiteX7" fmla="*/ 151508 w 213844"/>
                  <a:gd name="connsiteY7" fmla="*/ 189933 h 309928"/>
                  <a:gd name="connsiteX8" fmla="*/ 151508 w 213844"/>
                  <a:gd name="connsiteY8" fmla="*/ 214707 h 309928"/>
                  <a:gd name="connsiteX9" fmla="*/ 105290 w 213844"/>
                  <a:gd name="connsiteY9" fmla="*/ 263337 h 309928"/>
                  <a:gd name="connsiteX10" fmla="*/ 57746 w 213844"/>
                  <a:gd name="connsiteY10" fmla="*/ 236932 h 309928"/>
                  <a:gd name="connsiteX11" fmla="*/ 15712 w 213844"/>
                  <a:gd name="connsiteY11" fmla="*/ 261604 h 309928"/>
                  <a:gd name="connsiteX12" fmla="*/ 107331 w 213844"/>
                  <a:gd name="connsiteY12" fmla="*/ 309929 h 309928"/>
                  <a:gd name="connsiteX13" fmla="*/ 213845 w 213844"/>
                  <a:gd name="connsiteY13" fmla="*/ 199517 h 309928"/>
                  <a:gd name="connsiteX14" fmla="*/ 213845 w 213844"/>
                  <a:gd name="connsiteY14" fmla="*/ 6525 h 309928"/>
                  <a:gd name="connsiteX15" fmla="*/ 151508 w 213844"/>
                  <a:gd name="connsiteY15" fmla="*/ 6525 h 309928"/>
                  <a:gd name="connsiteX16" fmla="*/ 109473 w 213844"/>
                  <a:gd name="connsiteY16" fmla="*/ 172908 h 309928"/>
                  <a:gd name="connsiteX17" fmla="*/ 67337 w 213844"/>
                  <a:gd name="connsiteY17" fmla="*/ 109902 h 309928"/>
                  <a:gd name="connsiteX18" fmla="*/ 109473 w 213844"/>
                  <a:gd name="connsiteY18" fmla="*/ 46897 h 309928"/>
                  <a:gd name="connsiteX19" fmla="*/ 151609 w 213844"/>
                  <a:gd name="connsiteY19" fmla="*/ 109902 h 309928"/>
                  <a:gd name="connsiteX20" fmla="*/ 109473 w 213844"/>
                  <a:gd name="connsiteY20" fmla="*/ 172908 h 309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13844" h="309928">
                    <a:moveTo>
                      <a:pt x="151508" y="6525"/>
                    </a:moveTo>
                    <a:lnTo>
                      <a:pt x="151508" y="29871"/>
                    </a:lnTo>
                    <a:lnTo>
                      <a:pt x="150589" y="29871"/>
                    </a:lnTo>
                    <a:cubicBezTo>
                      <a:pt x="146814" y="23143"/>
                      <a:pt x="131409" y="0"/>
                      <a:pt x="90904" y="0"/>
                    </a:cubicBezTo>
                    <a:cubicBezTo>
                      <a:pt x="24282" y="0"/>
                      <a:pt x="0" y="54441"/>
                      <a:pt x="0" y="109902"/>
                    </a:cubicBezTo>
                    <a:cubicBezTo>
                      <a:pt x="0" y="165465"/>
                      <a:pt x="24282" y="219805"/>
                      <a:pt x="90904" y="219805"/>
                    </a:cubicBezTo>
                    <a:cubicBezTo>
                      <a:pt x="132123" y="219805"/>
                      <a:pt x="147427" y="195744"/>
                      <a:pt x="150589" y="189933"/>
                    </a:cubicBezTo>
                    <a:lnTo>
                      <a:pt x="151508" y="189933"/>
                    </a:lnTo>
                    <a:lnTo>
                      <a:pt x="151508" y="214707"/>
                    </a:lnTo>
                    <a:cubicBezTo>
                      <a:pt x="151508" y="244681"/>
                      <a:pt x="130184" y="263337"/>
                      <a:pt x="105290" y="263337"/>
                    </a:cubicBezTo>
                    <a:cubicBezTo>
                      <a:pt x="76825" y="263337"/>
                      <a:pt x="61827" y="244375"/>
                      <a:pt x="57746" y="236932"/>
                    </a:cubicBezTo>
                    <a:cubicBezTo>
                      <a:pt x="52135" y="239787"/>
                      <a:pt x="15712" y="261604"/>
                      <a:pt x="15712" y="261604"/>
                    </a:cubicBezTo>
                    <a:cubicBezTo>
                      <a:pt x="20201" y="270780"/>
                      <a:pt x="38871" y="309929"/>
                      <a:pt x="107331" y="309929"/>
                    </a:cubicBezTo>
                    <a:cubicBezTo>
                      <a:pt x="179361" y="309929"/>
                      <a:pt x="213845" y="263949"/>
                      <a:pt x="213845" y="199517"/>
                    </a:cubicBezTo>
                    <a:lnTo>
                      <a:pt x="213845" y="6525"/>
                    </a:lnTo>
                    <a:lnTo>
                      <a:pt x="151508" y="6525"/>
                    </a:lnTo>
                    <a:close/>
                    <a:moveTo>
                      <a:pt x="109473" y="172908"/>
                    </a:moveTo>
                    <a:cubicBezTo>
                      <a:pt x="73866" y="172908"/>
                      <a:pt x="67337" y="138041"/>
                      <a:pt x="67337" y="109902"/>
                    </a:cubicBezTo>
                    <a:cubicBezTo>
                      <a:pt x="67337" y="77788"/>
                      <a:pt x="76315" y="46897"/>
                      <a:pt x="109473" y="46897"/>
                    </a:cubicBezTo>
                    <a:cubicBezTo>
                      <a:pt x="142427" y="46897"/>
                      <a:pt x="151609" y="77890"/>
                      <a:pt x="151609" y="109902"/>
                    </a:cubicBezTo>
                    <a:cubicBezTo>
                      <a:pt x="151508" y="138143"/>
                      <a:pt x="144264" y="172908"/>
                      <a:pt x="109473" y="172908"/>
                    </a:cubicBezTo>
                    <a:close/>
                  </a:path>
                </a:pathLst>
              </a:custGeom>
              <a:grpFill/>
              <a:ln w="1019" cap="flat">
                <a:noFill/>
                <a:prstDash val="solid"/>
                <a:miter/>
              </a:ln>
            </p:spPr>
            <p:txBody>
              <a:bodyPr rtlCol="0" anchor="ctr"/>
              <a:lstStyle/>
              <a:p>
                <a:endParaRPr lang="en-US"/>
              </a:p>
            </p:txBody>
          </p:sp>
          <p:sp>
            <p:nvSpPr>
              <p:cNvPr id="119" name="Freeform 118">
                <a:extLst>
                  <a:ext uri="{FF2B5EF4-FFF2-40B4-BE49-F238E27FC236}">
                    <a16:creationId xmlns:a16="http://schemas.microsoft.com/office/drawing/2014/main" id="{D5F94B17-6AF4-EF4A-A658-321FC0E9E9E4}"/>
                  </a:ext>
                </a:extLst>
              </p:cNvPr>
              <p:cNvSpPr/>
              <p:nvPr/>
            </p:nvSpPr>
            <p:spPr>
              <a:xfrm>
                <a:off x="4995108" y="3142113"/>
                <a:ext cx="205927" cy="515004"/>
              </a:xfrm>
              <a:custGeom>
                <a:avLst/>
                <a:gdLst>
                  <a:gd name="connsiteX0" fmla="*/ 0 w 111411"/>
                  <a:gd name="connsiteY0" fmla="*/ 0 h 278629"/>
                  <a:gd name="connsiteX1" fmla="*/ 62337 w 111411"/>
                  <a:gd name="connsiteY1" fmla="*/ 0 h 278629"/>
                  <a:gd name="connsiteX2" fmla="*/ 62337 w 111411"/>
                  <a:gd name="connsiteY2" fmla="*/ 54645 h 278629"/>
                  <a:gd name="connsiteX3" fmla="*/ 111412 w 111411"/>
                  <a:gd name="connsiteY3" fmla="*/ 54645 h 278629"/>
                  <a:gd name="connsiteX4" fmla="*/ 111412 w 111411"/>
                  <a:gd name="connsiteY4" fmla="*/ 97974 h 278629"/>
                  <a:gd name="connsiteX5" fmla="*/ 62337 w 111411"/>
                  <a:gd name="connsiteY5" fmla="*/ 97974 h 278629"/>
                  <a:gd name="connsiteX6" fmla="*/ 62337 w 111411"/>
                  <a:gd name="connsiteY6" fmla="*/ 204206 h 278629"/>
                  <a:gd name="connsiteX7" fmla="*/ 92537 w 111411"/>
                  <a:gd name="connsiteY7" fmla="*/ 236015 h 278629"/>
                  <a:gd name="connsiteX8" fmla="*/ 110085 w 111411"/>
                  <a:gd name="connsiteY8" fmla="*/ 234587 h 278629"/>
                  <a:gd name="connsiteX9" fmla="*/ 110085 w 111411"/>
                  <a:gd name="connsiteY9" fmla="*/ 272105 h 278629"/>
                  <a:gd name="connsiteX10" fmla="*/ 66929 w 111411"/>
                  <a:gd name="connsiteY10" fmla="*/ 278630 h 278629"/>
                  <a:gd name="connsiteX11" fmla="*/ 0 w 111411"/>
                  <a:gd name="connsiteY11" fmla="*/ 204920 h 278629"/>
                  <a:gd name="connsiteX12" fmla="*/ 0 w 111411"/>
                  <a:gd name="connsiteY12" fmla="*/ 0 h 278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1411" h="278629">
                    <a:moveTo>
                      <a:pt x="0" y="0"/>
                    </a:moveTo>
                    <a:lnTo>
                      <a:pt x="62337" y="0"/>
                    </a:lnTo>
                    <a:lnTo>
                      <a:pt x="62337" y="54645"/>
                    </a:lnTo>
                    <a:lnTo>
                      <a:pt x="111412" y="54645"/>
                    </a:lnTo>
                    <a:lnTo>
                      <a:pt x="111412" y="97974"/>
                    </a:lnTo>
                    <a:lnTo>
                      <a:pt x="62337" y="97974"/>
                    </a:lnTo>
                    <a:lnTo>
                      <a:pt x="62337" y="204206"/>
                    </a:lnTo>
                    <a:cubicBezTo>
                      <a:pt x="62337" y="222965"/>
                      <a:pt x="73662" y="236015"/>
                      <a:pt x="92537" y="236015"/>
                    </a:cubicBezTo>
                    <a:cubicBezTo>
                      <a:pt x="102637" y="236015"/>
                      <a:pt x="108351" y="234995"/>
                      <a:pt x="110085" y="234587"/>
                    </a:cubicBezTo>
                    <a:lnTo>
                      <a:pt x="110085" y="272105"/>
                    </a:lnTo>
                    <a:cubicBezTo>
                      <a:pt x="106923" y="273125"/>
                      <a:pt x="89884" y="278630"/>
                      <a:pt x="66929" y="278630"/>
                    </a:cubicBezTo>
                    <a:cubicBezTo>
                      <a:pt x="16120" y="278630"/>
                      <a:pt x="0" y="246210"/>
                      <a:pt x="0" y="204920"/>
                    </a:cubicBezTo>
                    <a:lnTo>
                      <a:pt x="0" y="0"/>
                    </a:lnTo>
                  </a:path>
                </a:pathLst>
              </a:custGeom>
              <a:grpFill/>
              <a:ln w="1019" cap="flat">
                <a:noFill/>
                <a:prstDash val="solid"/>
                <a:miter/>
              </a:ln>
            </p:spPr>
            <p:txBody>
              <a:bodyPr rtlCol="0" anchor="ctr"/>
              <a:lstStyle/>
              <a:p>
                <a:endParaRPr lang="en-US"/>
              </a:p>
            </p:txBody>
          </p:sp>
          <p:sp>
            <p:nvSpPr>
              <p:cNvPr id="120" name="Freeform 119">
                <a:extLst>
                  <a:ext uri="{FF2B5EF4-FFF2-40B4-BE49-F238E27FC236}">
                    <a16:creationId xmlns:a16="http://schemas.microsoft.com/office/drawing/2014/main" id="{5604F7D3-9779-2B49-AC36-90B6E7386DBD}"/>
                  </a:ext>
                </a:extLst>
              </p:cNvPr>
              <p:cNvSpPr/>
              <p:nvPr/>
            </p:nvSpPr>
            <p:spPr>
              <a:xfrm>
                <a:off x="5944979" y="3231058"/>
                <a:ext cx="376402" cy="414189"/>
              </a:xfrm>
              <a:custGeom>
                <a:avLst/>
                <a:gdLst>
                  <a:gd name="connsiteX0" fmla="*/ 62337 w 203642"/>
                  <a:gd name="connsiteY0" fmla="*/ 6525 h 224086"/>
                  <a:gd name="connsiteX1" fmla="*/ 0 w 203642"/>
                  <a:gd name="connsiteY1" fmla="*/ 6525 h 224086"/>
                  <a:gd name="connsiteX2" fmla="*/ 0 w 203642"/>
                  <a:gd name="connsiteY2" fmla="*/ 224087 h 224086"/>
                  <a:gd name="connsiteX3" fmla="*/ 62746 w 203642"/>
                  <a:gd name="connsiteY3" fmla="*/ 224087 h 224086"/>
                  <a:gd name="connsiteX4" fmla="*/ 62746 w 203642"/>
                  <a:gd name="connsiteY4" fmla="*/ 93182 h 224086"/>
                  <a:gd name="connsiteX5" fmla="*/ 101515 w 203642"/>
                  <a:gd name="connsiteY5" fmla="*/ 49752 h 224086"/>
                  <a:gd name="connsiteX6" fmla="*/ 140897 w 203642"/>
                  <a:gd name="connsiteY6" fmla="*/ 93182 h 224086"/>
                  <a:gd name="connsiteX7" fmla="*/ 140897 w 203642"/>
                  <a:gd name="connsiteY7" fmla="*/ 224087 h 224086"/>
                  <a:gd name="connsiteX8" fmla="*/ 203643 w 203642"/>
                  <a:gd name="connsiteY8" fmla="*/ 224087 h 224086"/>
                  <a:gd name="connsiteX9" fmla="*/ 203643 w 203642"/>
                  <a:gd name="connsiteY9" fmla="*/ 78604 h 224086"/>
                  <a:gd name="connsiteX10" fmla="*/ 125593 w 203642"/>
                  <a:gd name="connsiteY10" fmla="*/ 0 h 224086"/>
                  <a:gd name="connsiteX11" fmla="*/ 63154 w 203642"/>
                  <a:gd name="connsiteY11" fmla="*/ 32930 h 224086"/>
                  <a:gd name="connsiteX12" fmla="*/ 62235 w 203642"/>
                  <a:gd name="connsiteY12" fmla="*/ 32930 h 224086"/>
                  <a:gd name="connsiteX13" fmla="*/ 62337 w 203642"/>
                  <a:gd name="connsiteY13" fmla="*/ 6525 h 224086"/>
                  <a:gd name="connsiteX14" fmla="*/ 62337 w 203642"/>
                  <a:gd name="connsiteY14" fmla="*/ 6525 h 224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3642" h="224086">
                    <a:moveTo>
                      <a:pt x="62337" y="6525"/>
                    </a:moveTo>
                    <a:lnTo>
                      <a:pt x="0" y="6525"/>
                    </a:lnTo>
                    <a:lnTo>
                      <a:pt x="0" y="224087"/>
                    </a:lnTo>
                    <a:lnTo>
                      <a:pt x="62746" y="224087"/>
                    </a:lnTo>
                    <a:lnTo>
                      <a:pt x="62746" y="93182"/>
                    </a:lnTo>
                    <a:cubicBezTo>
                      <a:pt x="62746" y="67083"/>
                      <a:pt x="76723" y="49752"/>
                      <a:pt x="101515" y="49752"/>
                    </a:cubicBezTo>
                    <a:cubicBezTo>
                      <a:pt x="129572" y="49752"/>
                      <a:pt x="140897" y="70346"/>
                      <a:pt x="140897" y="93182"/>
                    </a:cubicBezTo>
                    <a:lnTo>
                      <a:pt x="140897" y="224087"/>
                    </a:lnTo>
                    <a:lnTo>
                      <a:pt x="203643" y="224087"/>
                    </a:lnTo>
                    <a:lnTo>
                      <a:pt x="203643" y="78604"/>
                    </a:lnTo>
                    <a:cubicBezTo>
                      <a:pt x="203643" y="33644"/>
                      <a:pt x="178544" y="0"/>
                      <a:pt x="125593" y="0"/>
                    </a:cubicBezTo>
                    <a:cubicBezTo>
                      <a:pt x="82436" y="0"/>
                      <a:pt x="67337" y="25691"/>
                      <a:pt x="63154" y="32930"/>
                    </a:cubicBezTo>
                    <a:lnTo>
                      <a:pt x="62235" y="32930"/>
                    </a:lnTo>
                    <a:lnTo>
                      <a:pt x="62337" y="6525"/>
                    </a:lnTo>
                    <a:lnTo>
                      <a:pt x="62337" y="6525"/>
                    </a:lnTo>
                    <a:close/>
                  </a:path>
                </a:pathLst>
              </a:custGeom>
              <a:grpFill/>
              <a:ln w="1019" cap="flat">
                <a:noFill/>
                <a:prstDash val="solid"/>
                <a:miter/>
              </a:ln>
            </p:spPr>
            <p:txBody>
              <a:bodyPr rtlCol="0" anchor="ctr"/>
              <a:lstStyle/>
              <a:p>
                <a:endParaRPr lang="en-US"/>
              </a:p>
            </p:txBody>
          </p:sp>
          <p:sp>
            <p:nvSpPr>
              <p:cNvPr id="121" name="Freeform 120">
                <a:extLst>
                  <a:ext uri="{FF2B5EF4-FFF2-40B4-BE49-F238E27FC236}">
                    <a16:creationId xmlns:a16="http://schemas.microsoft.com/office/drawing/2014/main" id="{4D1B8D65-9C29-AC4E-9D30-CEF88DD1811A}"/>
                  </a:ext>
                </a:extLst>
              </p:cNvPr>
              <p:cNvSpPr/>
              <p:nvPr/>
            </p:nvSpPr>
            <p:spPr>
              <a:xfrm>
                <a:off x="5662677" y="3231058"/>
                <a:ext cx="242888" cy="414189"/>
              </a:xfrm>
              <a:custGeom>
                <a:avLst/>
                <a:gdLst>
                  <a:gd name="connsiteX0" fmla="*/ 131409 w 131408"/>
                  <a:gd name="connsiteY0" fmla="*/ 0 h 224086"/>
                  <a:gd name="connsiteX1" fmla="*/ 57134 w 131408"/>
                  <a:gd name="connsiteY1" fmla="*/ 41902 h 224086"/>
                  <a:gd name="connsiteX2" fmla="*/ 56216 w 131408"/>
                  <a:gd name="connsiteY2" fmla="*/ 41902 h 224086"/>
                  <a:gd name="connsiteX3" fmla="*/ 56216 w 131408"/>
                  <a:gd name="connsiteY3" fmla="*/ 6525 h 224086"/>
                  <a:gd name="connsiteX4" fmla="*/ 0 w 131408"/>
                  <a:gd name="connsiteY4" fmla="*/ 6525 h 224086"/>
                  <a:gd name="connsiteX5" fmla="*/ 0 w 131408"/>
                  <a:gd name="connsiteY5" fmla="*/ 224087 h 224086"/>
                  <a:gd name="connsiteX6" fmla="*/ 62746 w 131408"/>
                  <a:gd name="connsiteY6" fmla="*/ 224087 h 224086"/>
                  <a:gd name="connsiteX7" fmla="*/ 62746 w 131408"/>
                  <a:gd name="connsiteY7" fmla="*/ 116121 h 224086"/>
                  <a:gd name="connsiteX8" fmla="*/ 131307 w 131408"/>
                  <a:gd name="connsiteY8" fmla="*/ 50058 h 224086"/>
                  <a:gd name="connsiteX9" fmla="*/ 131307 w 131408"/>
                  <a:gd name="connsiteY9" fmla="*/ 0 h 224086"/>
                  <a:gd name="connsiteX10" fmla="*/ 131409 w 131408"/>
                  <a:gd name="connsiteY10" fmla="*/ 0 h 224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1408" h="224086">
                    <a:moveTo>
                      <a:pt x="131409" y="0"/>
                    </a:moveTo>
                    <a:cubicBezTo>
                      <a:pt x="74785" y="0"/>
                      <a:pt x="61521" y="31808"/>
                      <a:pt x="57134" y="41902"/>
                    </a:cubicBezTo>
                    <a:lnTo>
                      <a:pt x="56216" y="41902"/>
                    </a:lnTo>
                    <a:lnTo>
                      <a:pt x="56216" y="6525"/>
                    </a:lnTo>
                    <a:lnTo>
                      <a:pt x="0" y="6525"/>
                    </a:lnTo>
                    <a:lnTo>
                      <a:pt x="0" y="224087"/>
                    </a:lnTo>
                    <a:lnTo>
                      <a:pt x="62746" y="224087"/>
                    </a:lnTo>
                    <a:lnTo>
                      <a:pt x="62746" y="116121"/>
                    </a:lnTo>
                    <a:cubicBezTo>
                      <a:pt x="62746" y="69326"/>
                      <a:pt x="93965" y="50058"/>
                      <a:pt x="131307" y="50058"/>
                    </a:cubicBezTo>
                    <a:lnTo>
                      <a:pt x="131307" y="0"/>
                    </a:lnTo>
                    <a:lnTo>
                      <a:pt x="131409" y="0"/>
                    </a:lnTo>
                    <a:close/>
                  </a:path>
                </a:pathLst>
              </a:custGeom>
              <a:grpFill/>
              <a:ln w="1019" cap="flat">
                <a:noFill/>
                <a:prstDash val="solid"/>
                <a:miter/>
              </a:ln>
            </p:spPr>
            <p:txBody>
              <a:bodyPr rtlCol="0" anchor="ctr"/>
              <a:lstStyle/>
              <a:p>
                <a:endParaRPr lang="en-US"/>
              </a:p>
            </p:txBody>
          </p:sp>
          <p:sp>
            <p:nvSpPr>
              <p:cNvPr id="122" name="Freeform 121">
                <a:extLst>
                  <a:ext uri="{FF2B5EF4-FFF2-40B4-BE49-F238E27FC236}">
                    <a16:creationId xmlns:a16="http://schemas.microsoft.com/office/drawing/2014/main" id="{92CE31F1-88DA-5C48-953E-04EEAD1F6CD5}"/>
                  </a:ext>
                </a:extLst>
              </p:cNvPr>
              <p:cNvSpPr/>
              <p:nvPr/>
            </p:nvSpPr>
            <p:spPr>
              <a:xfrm>
                <a:off x="4599848" y="3231058"/>
                <a:ext cx="347172" cy="426250"/>
              </a:xfrm>
              <a:custGeom>
                <a:avLst/>
                <a:gdLst>
                  <a:gd name="connsiteX0" fmla="*/ 142121 w 187828"/>
                  <a:gd name="connsiteY0" fmla="*/ 67695 h 230611"/>
                  <a:gd name="connsiteX1" fmla="*/ 182319 w 187828"/>
                  <a:gd name="connsiteY1" fmla="*/ 40576 h 230611"/>
                  <a:gd name="connsiteX2" fmla="*/ 93251 w 187828"/>
                  <a:gd name="connsiteY2" fmla="*/ 0 h 230611"/>
                  <a:gd name="connsiteX3" fmla="*/ 7856 w 187828"/>
                  <a:gd name="connsiteY3" fmla="*/ 66370 h 230611"/>
                  <a:gd name="connsiteX4" fmla="*/ 68153 w 187828"/>
                  <a:gd name="connsiteY4" fmla="*/ 134472 h 230611"/>
                  <a:gd name="connsiteX5" fmla="*/ 95292 w 187828"/>
                  <a:gd name="connsiteY5" fmla="*/ 142730 h 230611"/>
                  <a:gd name="connsiteX6" fmla="*/ 125287 w 187828"/>
                  <a:gd name="connsiteY6" fmla="*/ 165873 h 230611"/>
                  <a:gd name="connsiteX7" fmla="*/ 89680 w 187828"/>
                  <a:gd name="connsiteY7" fmla="*/ 185753 h 230611"/>
                  <a:gd name="connsiteX8" fmla="*/ 42034 w 187828"/>
                  <a:gd name="connsiteY8" fmla="*/ 160572 h 230611"/>
                  <a:gd name="connsiteX9" fmla="*/ 0 w 187828"/>
                  <a:gd name="connsiteY9" fmla="*/ 184122 h 230611"/>
                  <a:gd name="connsiteX10" fmla="*/ 93557 w 187828"/>
                  <a:gd name="connsiteY10" fmla="*/ 230611 h 230611"/>
                  <a:gd name="connsiteX11" fmla="*/ 187829 w 187828"/>
                  <a:gd name="connsiteY11" fmla="*/ 161489 h 230611"/>
                  <a:gd name="connsiteX12" fmla="*/ 126001 w 187828"/>
                  <a:gd name="connsiteY12" fmla="*/ 92877 h 230611"/>
                  <a:gd name="connsiteX13" fmla="*/ 101617 w 187828"/>
                  <a:gd name="connsiteY13" fmla="*/ 85434 h 230611"/>
                  <a:gd name="connsiteX14" fmla="*/ 70397 w 187828"/>
                  <a:gd name="connsiteY14" fmla="*/ 62292 h 230611"/>
                  <a:gd name="connsiteX15" fmla="*/ 98965 w 187828"/>
                  <a:gd name="connsiteY15" fmla="*/ 44960 h 230611"/>
                  <a:gd name="connsiteX16" fmla="*/ 142121 w 187828"/>
                  <a:gd name="connsiteY16" fmla="*/ 67695 h 230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87828" h="230611">
                    <a:moveTo>
                      <a:pt x="142121" y="67695"/>
                    </a:moveTo>
                    <a:lnTo>
                      <a:pt x="182319" y="40576"/>
                    </a:lnTo>
                    <a:cubicBezTo>
                      <a:pt x="177116" y="31808"/>
                      <a:pt x="155793" y="0"/>
                      <a:pt x="93251" y="0"/>
                    </a:cubicBezTo>
                    <a:cubicBezTo>
                      <a:pt x="46626" y="0"/>
                      <a:pt x="7856" y="23958"/>
                      <a:pt x="7856" y="66370"/>
                    </a:cubicBezTo>
                    <a:cubicBezTo>
                      <a:pt x="7856" y="105926"/>
                      <a:pt x="36525" y="124685"/>
                      <a:pt x="68153" y="134472"/>
                    </a:cubicBezTo>
                    <a:cubicBezTo>
                      <a:pt x="77539" y="137327"/>
                      <a:pt x="86926" y="140080"/>
                      <a:pt x="95292" y="142730"/>
                    </a:cubicBezTo>
                    <a:cubicBezTo>
                      <a:pt x="112228" y="148134"/>
                      <a:pt x="125287" y="152823"/>
                      <a:pt x="125287" y="165873"/>
                    </a:cubicBezTo>
                    <a:cubicBezTo>
                      <a:pt x="125287" y="177495"/>
                      <a:pt x="112330" y="185753"/>
                      <a:pt x="89680" y="185753"/>
                    </a:cubicBezTo>
                    <a:cubicBezTo>
                      <a:pt x="60399" y="185753"/>
                      <a:pt x="46932" y="168014"/>
                      <a:pt x="42034" y="160572"/>
                    </a:cubicBezTo>
                    <a:lnTo>
                      <a:pt x="0" y="184122"/>
                    </a:lnTo>
                    <a:cubicBezTo>
                      <a:pt x="4081" y="194317"/>
                      <a:pt x="26833" y="230611"/>
                      <a:pt x="93557" y="230611"/>
                    </a:cubicBezTo>
                    <a:cubicBezTo>
                      <a:pt x="144468" y="230611"/>
                      <a:pt x="187829" y="209202"/>
                      <a:pt x="187829" y="161489"/>
                    </a:cubicBezTo>
                    <a:cubicBezTo>
                      <a:pt x="187829" y="121729"/>
                      <a:pt x="159466" y="103174"/>
                      <a:pt x="126001" y="92877"/>
                    </a:cubicBezTo>
                    <a:cubicBezTo>
                      <a:pt x="117533" y="90328"/>
                      <a:pt x="109167" y="87677"/>
                      <a:pt x="101617" y="85434"/>
                    </a:cubicBezTo>
                    <a:cubicBezTo>
                      <a:pt x="86415" y="80847"/>
                      <a:pt x="70397" y="76667"/>
                      <a:pt x="70397" y="62292"/>
                    </a:cubicBezTo>
                    <a:cubicBezTo>
                      <a:pt x="70397" y="51689"/>
                      <a:pt x="80498" y="44960"/>
                      <a:pt x="98965" y="44960"/>
                    </a:cubicBezTo>
                    <a:cubicBezTo>
                      <a:pt x="128042" y="44960"/>
                      <a:pt x="137938" y="61578"/>
                      <a:pt x="142121" y="67695"/>
                    </a:cubicBezTo>
                    <a:close/>
                  </a:path>
                </a:pathLst>
              </a:custGeom>
              <a:grpFill/>
              <a:ln w="1019" cap="flat">
                <a:noFill/>
                <a:prstDash val="solid"/>
                <a:miter/>
              </a:ln>
            </p:spPr>
            <p:txBody>
              <a:bodyPr rtlCol="0" anchor="ctr"/>
              <a:lstStyle/>
              <a:p>
                <a:endParaRPr lang="en-US"/>
              </a:p>
            </p:txBody>
          </p:sp>
          <p:sp>
            <p:nvSpPr>
              <p:cNvPr id="123" name="Freeform 122">
                <a:extLst>
                  <a:ext uri="{FF2B5EF4-FFF2-40B4-BE49-F238E27FC236}">
                    <a16:creationId xmlns:a16="http://schemas.microsoft.com/office/drawing/2014/main" id="{3945867D-030D-E14E-BD23-93109253EBA0}"/>
                  </a:ext>
                </a:extLst>
              </p:cNvPr>
              <p:cNvSpPr/>
              <p:nvPr/>
            </p:nvSpPr>
            <p:spPr>
              <a:xfrm>
                <a:off x="3403128" y="3066926"/>
                <a:ext cx="807115" cy="578321"/>
              </a:xfrm>
              <a:custGeom>
                <a:avLst/>
                <a:gdLst>
                  <a:gd name="connsiteX0" fmla="*/ 375657 w 436668"/>
                  <a:gd name="connsiteY0" fmla="*/ 0 h 312885"/>
                  <a:gd name="connsiteX1" fmla="*/ 318727 w 436668"/>
                  <a:gd name="connsiteY1" fmla="*/ 222965 h 312885"/>
                  <a:gd name="connsiteX2" fmla="*/ 261797 w 436668"/>
                  <a:gd name="connsiteY2" fmla="*/ 0 h 312885"/>
                  <a:gd name="connsiteX3" fmla="*/ 183442 w 436668"/>
                  <a:gd name="connsiteY3" fmla="*/ 0 h 312885"/>
                  <a:gd name="connsiteX4" fmla="*/ 124981 w 436668"/>
                  <a:gd name="connsiteY4" fmla="*/ 229388 h 312885"/>
                  <a:gd name="connsiteX5" fmla="*/ 66418 w 436668"/>
                  <a:gd name="connsiteY5" fmla="*/ 0 h 312885"/>
                  <a:gd name="connsiteX6" fmla="*/ 0 w 436668"/>
                  <a:gd name="connsiteY6" fmla="*/ 0 h 312885"/>
                  <a:gd name="connsiteX7" fmla="*/ 80906 w 436668"/>
                  <a:gd name="connsiteY7" fmla="*/ 312885 h 312885"/>
                  <a:gd name="connsiteX8" fmla="*/ 164057 w 436668"/>
                  <a:gd name="connsiteY8" fmla="*/ 312885 h 312885"/>
                  <a:gd name="connsiteX9" fmla="*/ 220681 w 436668"/>
                  <a:gd name="connsiteY9" fmla="*/ 91144 h 312885"/>
                  <a:gd name="connsiteX10" fmla="*/ 277305 w 436668"/>
                  <a:gd name="connsiteY10" fmla="*/ 312885 h 312885"/>
                  <a:gd name="connsiteX11" fmla="*/ 355762 w 436668"/>
                  <a:gd name="connsiteY11" fmla="*/ 312885 h 312885"/>
                  <a:gd name="connsiteX12" fmla="*/ 436668 w 436668"/>
                  <a:gd name="connsiteY12" fmla="*/ 0 h 312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6668" h="312885">
                    <a:moveTo>
                      <a:pt x="375657" y="0"/>
                    </a:moveTo>
                    <a:lnTo>
                      <a:pt x="318727" y="222965"/>
                    </a:lnTo>
                    <a:lnTo>
                      <a:pt x="261797" y="0"/>
                    </a:lnTo>
                    <a:lnTo>
                      <a:pt x="183442" y="0"/>
                    </a:lnTo>
                    <a:lnTo>
                      <a:pt x="124981" y="229388"/>
                    </a:lnTo>
                    <a:lnTo>
                      <a:pt x="66418" y="0"/>
                    </a:lnTo>
                    <a:lnTo>
                      <a:pt x="0" y="0"/>
                    </a:lnTo>
                    <a:lnTo>
                      <a:pt x="80906" y="312885"/>
                    </a:lnTo>
                    <a:lnTo>
                      <a:pt x="164057" y="312885"/>
                    </a:lnTo>
                    <a:lnTo>
                      <a:pt x="220681" y="91144"/>
                    </a:lnTo>
                    <a:lnTo>
                      <a:pt x="277305" y="312885"/>
                    </a:lnTo>
                    <a:lnTo>
                      <a:pt x="355762" y="312885"/>
                    </a:lnTo>
                    <a:lnTo>
                      <a:pt x="436668" y="0"/>
                    </a:lnTo>
                    <a:close/>
                  </a:path>
                </a:pathLst>
              </a:custGeom>
              <a:grpFill/>
              <a:ln w="1019" cap="flat">
                <a:noFill/>
                <a:prstDash val="solid"/>
                <a:miter/>
              </a:ln>
            </p:spPr>
            <p:txBody>
              <a:bodyPr rtlCol="0" anchor="ctr"/>
              <a:lstStyle/>
              <a:p>
                <a:endParaRPr lang="en-US"/>
              </a:p>
            </p:txBody>
          </p:sp>
          <p:sp>
            <p:nvSpPr>
              <p:cNvPr id="124" name="Freeform 123">
                <a:extLst>
                  <a:ext uri="{FF2B5EF4-FFF2-40B4-BE49-F238E27FC236}">
                    <a16:creationId xmlns:a16="http://schemas.microsoft.com/office/drawing/2014/main" id="{689588AF-4881-F246-ADFD-6F0EE2C5FE41}"/>
                  </a:ext>
                </a:extLst>
              </p:cNvPr>
              <p:cNvSpPr/>
              <p:nvPr/>
            </p:nvSpPr>
            <p:spPr>
              <a:xfrm>
                <a:off x="4175923" y="3231058"/>
                <a:ext cx="400162" cy="426250"/>
              </a:xfrm>
              <a:custGeom>
                <a:avLst/>
                <a:gdLst>
                  <a:gd name="connsiteX0" fmla="*/ 216396 w 216497"/>
                  <a:gd name="connsiteY0" fmla="*/ 115306 h 230611"/>
                  <a:gd name="connsiteX1" fmla="*/ 108351 w 216497"/>
                  <a:gd name="connsiteY1" fmla="*/ 0 h 230611"/>
                  <a:gd name="connsiteX2" fmla="*/ 0 w 216497"/>
                  <a:gd name="connsiteY2" fmla="*/ 115306 h 230611"/>
                  <a:gd name="connsiteX3" fmla="*/ 111004 w 216497"/>
                  <a:gd name="connsiteY3" fmla="*/ 230611 h 230611"/>
                  <a:gd name="connsiteX4" fmla="*/ 201194 w 216497"/>
                  <a:gd name="connsiteY4" fmla="*/ 182287 h 230611"/>
                  <a:gd name="connsiteX5" fmla="*/ 158955 w 216497"/>
                  <a:gd name="connsiteY5" fmla="*/ 158023 h 230611"/>
                  <a:gd name="connsiteX6" fmla="*/ 111310 w 216497"/>
                  <a:gd name="connsiteY6" fmla="*/ 185753 h 230611"/>
                  <a:gd name="connsiteX7" fmla="*/ 62542 w 216497"/>
                  <a:gd name="connsiteY7" fmla="*/ 134472 h 230611"/>
                  <a:gd name="connsiteX8" fmla="*/ 216498 w 216497"/>
                  <a:gd name="connsiteY8" fmla="*/ 134472 h 230611"/>
                  <a:gd name="connsiteX9" fmla="*/ 216396 w 216497"/>
                  <a:gd name="connsiteY9" fmla="*/ 115306 h 230611"/>
                  <a:gd name="connsiteX10" fmla="*/ 62440 w 216497"/>
                  <a:gd name="connsiteY10" fmla="*/ 91042 h 230611"/>
                  <a:gd name="connsiteX11" fmla="*/ 108351 w 216497"/>
                  <a:gd name="connsiteY11" fmla="*/ 44756 h 230611"/>
                  <a:gd name="connsiteX12" fmla="*/ 153752 w 216497"/>
                  <a:gd name="connsiteY12" fmla="*/ 91042 h 230611"/>
                  <a:gd name="connsiteX13" fmla="*/ 62440 w 216497"/>
                  <a:gd name="connsiteY13" fmla="*/ 91042 h 230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6497" h="230611">
                    <a:moveTo>
                      <a:pt x="216396" y="115306"/>
                    </a:moveTo>
                    <a:cubicBezTo>
                      <a:pt x="216396" y="58214"/>
                      <a:pt x="182217" y="0"/>
                      <a:pt x="108351" y="0"/>
                    </a:cubicBezTo>
                    <a:cubicBezTo>
                      <a:pt x="41932" y="0"/>
                      <a:pt x="0" y="49854"/>
                      <a:pt x="0" y="115306"/>
                    </a:cubicBezTo>
                    <a:cubicBezTo>
                      <a:pt x="0" y="179738"/>
                      <a:pt x="41218" y="230611"/>
                      <a:pt x="111004" y="230611"/>
                    </a:cubicBezTo>
                    <a:cubicBezTo>
                      <a:pt x="172219" y="230611"/>
                      <a:pt x="195583" y="194215"/>
                      <a:pt x="201194" y="182287"/>
                    </a:cubicBezTo>
                    <a:lnTo>
                      <a:pt x="158955" y="158023"/>
                    </a:lnTo>
                    <a:cubicBezTo>
                      <a:pt x="155997" y="163426"/>
                      <a:pt x="145386" y="185753"/>
                      <a:pt x="111310" y="185753"/>
                    </a:cubicBezTo>
                    <a:cubicBezTo>
                      <a:pt x="83865" y="185753"/>
                      <a:pt x="64480" y="164344"/>
                      <a:pt x="62542" y="134472"/>
                    </a:cubicBezTo>
                    <a:lnTo>
                      <a:pt x="216498" y="134472"/>
                    </a:lnTo>
                    <a:cubicBezTo>
                      <a:pt x="216396" y="134370"/>
                      <a:pt x="216396" y="115612"/>
                      <a:pt x="216396" y="115306"/>
                    </a:cubicBezTo>
                    <a:close/>
                    <a:moveTo>
                      <a:pt x="62440" y="91042"/>
                    </a:moveTo>
                    <a:cubicBezTo>
                      <a:pt x="64888" y="66573"/>
                      <a:pt x="78355" y="44756"/>
                      <a:pt x="108351" y="44756"/>
                    </a:cubicBezTo>
                    <a:cubicBezTo>
                      <a:pt x="136510" y="44756"/>
                      <a:pt x="151406" y="64840"/>
                      <a:pt x="153752" y="91042"/>
                    </a:cubicBezTo>
                    <a:lnTo>
                      <a:pt x="62440" y="91042"/>
                    </a:lnTo>
                    <a:close/>
                  </a:path>
                </a:pathLst>
              </a:custGeom>
              <a:grpFill/>
              <a:ln w="1019" cap="flat">
                <a:noFill/>
                <a:prstDash val="solid"/>
                <a:miter/>
              </a:ln>
            </p:spPr>
            <p:txBody>
              <a:bodyPr rtlCol="0" anchor="ctr"/>
              <a:lstStyle/>
              <a:p>
                <a:endParaRPr lang="en-US"/>
              </a:p>
            </p:txBody>
          </p:sp>
          <p:sp>
            <p:nvSpPr>
              <p:cNvPr id="125" name="Freeform 124">
                <a:extLst>
                  <a:ext uri="{FF2B5EF4-FFF2-40B4-BE49-F238E27FC236}">
                    <a16:creationId xmlns:a16="http://schemas.microsoft.com/office/drawing/2014/main" id="{BB9E8CDD-578A-D443-8EC9-FD195A5AE53A}"/>
                  </a:ext>
                </a:extLst>
              </p:cNvPr>
              <p:cNvSpPr/>
              <p:nvPr/>
            </p:nvSpPr>
            <p:spPr>
              <a:xfrm>
                <a:off x="5209711" y="3231058"/>
                <a:ext cx="399974" cy="426250"/>
              </a:xfrm>
              <a:custGeom>
                <a:avLst/>
                <a:gdLst>
                  <a:gd name="connsiteX0" fmla="*/ 216396 w 216395"/>
                  <a:gd name="connsiteY0" fmla="*/ 115306 h 230611"/>
                  <a:gd name="connsiteX1" fmla="*/ 108351 w 216395"/>
                  <a:gd name="connsiteY1" fmla="*/ 0 h 230611"/>
                  <a:gd name="connsiteX2" fmla="*/ 0 w 216395"/>
                  <a:gd name="connsiteY2" fmla="*/ 115306 h 230611"/>
                  <a:gd name="connsiteX3" fmla="*/ 111003 w 216395"/>
                  <a:gd name="connsiteY3" fmla="*/ 230611 h 230611"/>
                  <a:gd name="connsiteX4" fmla="*/ 201194 w 216395"/>
                  <a:gd name="connsiteY4" fmla="*/ 182287 h 230611"/>
                  <a:gd name="connsiteX5" fmla="*/ 158955 w 216395"/>
                  <a:gd name="connsiteY5" fmla="*/ 158023 h 230611"/>
                  <a:gd name="connsiteX6" fmla="*/ 111310 w 216395"/>
                  <a:gd name="connsiteY6" fmla="*/ 185753 h 230611"/>
                  <a:gd name="connsiteX7" fmla="*/ 62541 w 216395"/>
                  <a:gd name="connsiteY7" fmla="*/ 134472 h 230611"/>
                  <a:gd name="connsiteX8" fmla="*/ 216396 w 216395"/>
                  <a:gd name="connsiteY8" fmla="*/ 134472 h 230611"/>
                  <a:gd name="connsiteX9" fmla="*/ 216396 w 216395"/>
                  <a:gd name="connsiteY9" fmla="*/ 115306 h 230611"/>
                  <a:gd name="connsiteX10" fmla="*/ 62439 w 216395"/>
                  <a:gd name="connsiteY10" fmla="*/ 91042 h 230611"/>
                  <a:gd name="connsiteX11" fmla="*/ 108351 w 216395"/>
                  <a:gd name="connsiteY11" fmla="*/ 44756 h 230611"/>
                  <a:gd name="connsiteX12" fmla="*/ 153752 w 216395"/>
                  <a:gd name="connsiteY12" fmla="*/ 91042 h 230611"/>
                  <a:gd name="connsiteX13" fmla="*/ 62439 w 216395"/>
                  <a:gd name="connsiteY13" fmla="*/ 91042 h 230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6395" h="230611">
                    <a:moveTo>
                      <a:pt x="216396" y="115306"/>
                    </a:moveTo>
                    <a:cubicBezTo>
                      <a:pt x="216396" y="58214"/>
                      <a:pt x="182217" y="0"/>
                      <a:pt x="108351" y="0"/>
                    </a:cubicBezTo>
                    <a:cubicBezTo>
                      <a:pt x="41932" y="0"/>
                      <a:pt x="0" y="49854"/>
                      <a:pt x="0" y="115306"/>
                    </a:cubicBezTo>
                    <a:cubicBezTo>
                      <a:pt x="0" y="179738"/>
                      <a:pt x="41218" y="230611"/>
                      <a:pt x="111003" y="230611"/>
                    </a:cubicBezTo>
                    <a:cubicBezTo>
                      <a:pt x="172219" y="230611"/>
                      <a:pt x="195582" y="194215"/>
                      <a:pt x="201194" y="182287"/>
                    </a:cubicBezTo>
                    <a:lnTo>
                      <a:pt x="158955" y="158023"/>
                    </a:lnTo>
                    <a:cubicBezTo>
                      <a:pt x="155997" y="163426"/>
                      <a:pt x="145386" y="185753"/>
                      <a:pt x="111310" y="185753"/>
                    </a:cubicBezTo>
                    <a:cubicBezTo>
                      <a:pt x="83865" y="185753"/>
                      <a:pt x="64480" y="164344"/>
                      <a:pt x="62541" y="134472"/>
                    </a:cubicBezTo>
                    <a:lnTo>
                      <a:pt x="216396" y="134472"/>
                    </a:lnTo>
                    <a:cubicBezTo>
                      <a:pt x="216396" y="134370"/>
                      <a:pt x="216396" y="115612"/>
                      <a:pt x="216396" y="115306"/>
                    </a:cubicBezTo>
                    <a:close/>
                    <a:moveTo>
                      <a:pt x="62439" y="91042"/>
                    </a:moveTo>
                    <a:cubicBezTo>
                      <a:pt x="64888" y="66573"/>
                      <a:pt x="78355" y="44756"/>
                      <a:pt x="108351" y="44756"/>
                    </a:cubicBezTo>
                    <a:cubicBezTo>
                      <a:pt x="136510" y="44756"/>
                      <a:pt x="151406" y="64840"/>
                      <a:pt x="153752" y="91042"/>
                    </a:cubicBezTo>
                    <a:lnTo>
                      <a:pt x="62439" y="91042"/>
                    </a:lnTo>
                    <a:close/>
                  </a:path>
                </a:pathLst>
              </a:custGeom>
              <a:grpFill/>
              <a:ln w="1019" cap="flat">
                <a:noFill/>
                <a:prstDash val="solid"/>
                <a:miter/>
              </a:ln>
            </p:spPr>
            <p:txBody>
              <a:bodyPr rtlCol="0" anchor="ctr"/>
              <a:lstStyle/>
              <a:p>
                <a:endParaRPr lang="en-US"/>
              </a:p>
            </p:txBody>
          </p:sp>
          <p:sp>
            <p:nvSpPr>
              <p:cNvPr id="126" name="Freeform 125">
                <a:extLst>
                  <a:ext uri="{FF2B5EF4-FFF2-40B4-BE49-F238E27FC236}">
                    <a16:creationId xmlns:a16="http://schemas.microsoft.com/office/drawing/2014/main" id="{697FA6A7-F21F-1F44-BFAA-8D45ED6BDC83}"/>
                  </a:ext>
                </a:extLst>
              </p:cNvPr>
              <p:cNvSpPr/>
              <p:nvPr/>
            </p:nvSpPr>
            <p:spPr>
              <a:xfrm>
                <a:off x="7934105" y="3142113"/>
                <a:ext cx="205927" cy="515004"/>
              </a:xfrm>
              <a:custGeom>
                <a:avLst/>
                <a:gdLst>
                  <a:gd name="connsiteX0" fmla="*/ 0 w 111411"/>
                  <a:gd name="connsiteY0" fmla="*/ 0 h 278629"/>
                  <a:gd name="connsiteX1" fmla="*/ 62337 w 111411"/>
                  <a:gd name="connsiteY1" fmla="*/ 0 h 278629"/>
                  <a:gd name="connsiteX2" fmla="*/ 62337 w 111411"/>
                  <a:gd name="connsiteY2" fmla="*/ 54645 h 278629"/>
                  <a:gd name="connsiteX3" fmla="*/ 111412 w 111411"/>
                  <a:gd name="connsiteY3" fmla="*/ 54645 h 278629"/>
                  <a:gd name="connsiteX4" fmla="*/ 111412 w 111411"/>
                  <a:gd name="connsiteY4" fmla="*/ 97974 h 278629"/>
                  <a:gd name="connsiteX5" fmla="*/ 62337 w 111411"/>
                  <a:gd name="connsiteY5" fmla="*/ 97974 h 278629"/>
                  <a:gd name="connsiteX6" fmla="*/ 62337 w 111411"/>
                  <a:gd name="connsiteY6" fmla="*/ 204206 h 278629"/>
                  <a:gd name="connsiteX7" fmla="*/ 92537 w 111411"/>
                  <a:gd name="connsiteY7" fmla="*/ 236015 h 278629"/>
                  <a:gd name="connsiteX8" fmla="*/ 110085 w 111411"/>
                  <a:gd name="connsiteY8" fmla="*/ 234587 h 278629"/>
                  <a:gd name="connsiteX9" fmla="*/ 110085 w 111411"/>
                  <a:gd name="connsiteY9" fmla="*/ 272105 h 278629"/>
                  <a:gd name="connsiteX10" fmla="*/ 66928 w 111411"/>
                  <a:gd name="connsiteY10" fmla="*/ 278630 h 278629"/>
                  <a:gd name="connsiteX11" fmla="*/ 0 w 111411"/>
                  <a:gd name="connsiteY11" fmla="*/ 204920 h 278629"/>
                  <a:gd name="connsiteX12" fmla="*/ 0 w 111411"/>
                  <a:gd name="connsiteY12" fmla="*/ 0 h 278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1411" h="278629">
                    <a:moveTo>
                      <a:pt x="0" y="0"/>
                    </a:moveTo>
                    <a:lnTo>
                      <a:pt x="62337" y="0"/>
                    </a:lnTo>
                    <a:lnTo>
                      <a:pt x="62337" y="54645"/>
                    </a:lnTo>
                    <a:lnTo>
                      <a:pt x="111412" y="54645"/>
                    </a:lnTo>
                    <a:lnTo>
                      <a:pt x="111412" y="97974"/>
                    </a:lnTo>
                    <a:lnTo>
                      <a:pt x="62337" y="97974"/>
                    </a:lnTo>
                    <a:lnTo>
                      <a:pt x="62337" y="204206"/>
                    </a:lnTo>
                    <a:cubicBezTo>
                      <a:pt x="62337" y="222965"/>
                      <a:pt x="73662" y="236015"/>
                      <a:pt x="92537" y="236015"/>
                    </a:cubicBezTo>
                    <a:cubicBezTo>
                      <a:pt x="102637" y="236015"/>
                      <a:pt x="108351" y="234995"/>
                      <a:pt x="110085" y="234587"/>
                    </a:cubicBezTo>
                    <a:lnTo>
                      <a:pt x="110085" y="272105"/>
                    </a:lnTo>
                    <a:cubicBezTo>
                      <a:pt x="106922" y="273125"/>
                      <a:pt x="89884" y="278630"/>
                      <a:pt x="66928" y="278630"/>
                    </a:cubicBezTo>
                    <a:cubicBezTo>
                      <a:pt x="16120" y="278630"/>
                      <a:pt x="0" y="246210"/>
                      <a:pt x="0" y="204920"/>
                    </a:cubicBezTo>
                    <a:lnTo>
                      <a:pt x="0" y="0"/>
                    </a:lnTo>
                  </a:path>
                </a:pathLst>
              </a:custGeom>
              <a:grpFill/>
              <a:ln w="1019" cap="flat">
                <a:noFill/>
                <a:prstDash val="solid"/>
                <a:miter/>
              </a:ln>
            </p:spPr>
            <p:txBody>
              <a:bodyPr rtlCol="0" anchor="ctr"/>
              <a:lstStyle/>
              <a:p>
                <a:endParaRPr lang="en-US"/>
              </a:p>
            </p:txBody>
          </p:sp>
          <p:sp>
            <p:nvSpPr>
              <p:cNvPr id="127" name="Freeform 126">
                <a:extLst>
                  <a:ext uri="{FF2B5EF4-FFF2-40B4-BE49-F238E27FC236}">
                    <a16:creationId xmlns:a16="http://schemas.microsoft.com/office/drawing/2014/main" id="{42256096-9CE9-A24A-B683-B92E2FD27296}"/>
                  </a:ext>
                </a:extLst>
              </p:cNvPr>
              <p:cNvSpPr/>
              <p:nvPr/>
            </p:nvSpPr>
            <p:spPr>
              <a:xfrm>
                <a:off x="6542961" y="3066926"/>
                <a:ext cx="490303" cy="578321"/>
              </a:xfrm>
              <a:custGeom>
                <a:avLst/>
                <a:gdLst>
                  <a:gd name="connsiteX0" fmla="*/ 106820 w 265265"/>
                  <a:gd name="connsiteY0" fmla="*/ 0 h 312885"/>
                  <a:gd name="connsiteX1" fmla="*/ 0 w 265265"/>
                  <a:gd name="connsiteY1" fmla="*/ 0 h 312885"/>
                  <a:gd name="connsiteX2" fmla="*/ 0 w 265265"/>
                  <a:gd name="connsiteY2" fmla="*/ 312885 h 312885"/>
                  <a:gd name="connsiteX3" fmla="*/ 106820 w 265265"/>
                  <a:gd name="connsiteY3" fmla="*/ 312885 h 312885"/>
                  <a:gd name="connsiteX4" fmla="*/ 265266 w 265265"/>
                  <a:gd name="connsiteY4" fmla="*/ 156392 h 312885"/>
                  <a:gd name="connsiteX5" fmla="*/ 106820 w 265265"/>
                  <a:gd name="connsiteY5" fmla="*/ 0 h 312885"/>
                  <a:gd name="connsiteX6" fmla="*/ 102841 w 265265"/>
                  <a:gd name="connsiteY6" fmla="*/ 260891 h 312885"/>
                  <a:gd name="connsiteX7" fmla="*/ 67235 w 265265"/>
                  <a:gd name="connsiteY7" fmla="*/ 260891 h 312885"/>
                  <a:gd name="connsiteX8" fmla="*/ 67235 w 265265"/>
                  <a:gd name="connsiteY8" fmla="*/ 51995 h 312885"/>
                  <a:gd name="connsiteX9" fmla="*/ 102841 w 265265"/>
                  <a:gd name="connsiteY9" fmla="*/ 51995 h 312885"/>
                  <a:gd name="connsiteX10" fmla="*/ 196195 w 265265"/>
                  <a:gd name="connsiteY10" fmla="*/ 156494 h 312885"/>
                  <a:gd name="connsiteX11" fmla="*/ 102841 w 265265"/>
                  <a:gd name="connsiteY11" fmla="*/ 260891 h 312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65265" h="312885">
                    <a:moveTo>
                      <a:pt x="106820" y="0"/>
                    </a:moveTo>
                    <a:lnTo>
                      <a:pt x="0" y="0"/>
                    </a:lnTo>
                    <a:lnTo>
                      <a:pt x="0" y="312885"/>
                    </a:lnTo>
                    <a:lnTo>
                      <a:pt x="106820" y="312885"/>
                    </a:lnTo>
                    <a:cubicBezTo>
                      <a:pt x="206295" y="312885"/>
                      <a:pt x="265266" y="265173"/>
                      <a:pt x="265266" y="156392"/>
                    </a:cubicBezTo>
                    <a:cubicBezTo>
                      <a:pt x="265164" y="47611"/>
                      <a:pt x="204153" y="0"/>
                      <a:pt x="106820" y="0"/>
                    </a:cubicBezTo>
                    <a:close/>
                    <a:moveTo>
                      <a:pt x="102841" y="260891"/>
                    </a:moveTo>
                    <a:lnTo>
                      <a:pt x="67235" y="260891"/>
                    </a:lnTo>
                    <a:lnTo>
                      <a:pt x="67235" y="51995"/>
                    </a:lnTo>
                    <a:lnTo>
                      <a:pt x="102841" y="51995"/>
                    </a:lnTo>
                    <a:cubicBezTo>
                      <a:pt x="183646" y="51995"/>
                      <a:pt x="196195" y="106640"/>
                      <a:pt x="196195" y="156494"/>
                    </a:cubicBezTo>
                    <a:cubicBezTo>
                      <a:pt x="196195" y="206245"/>
                      <a:pt x="184360" y="260891"/>
                      <a:pt x="102841" y="260891"/>
                    </a:cubicBezTo>
                    <a:close/>
                  </a:path>
                </a:pathLst>
              </a:custGeom>
              <a:grpFill/>
              <a:ln w="1019" cap="flat">
                <a:noFill/>
                <a:prstDash val="solid"/>
                <a:miter/>
              </a:ln>
            </p:spPr>
            <p:txBody>
              <a:bodyPr rtlCol="0" anchor="ctr"/>
              <a:lstStyle/>
              <a:p>
                <a:endParaRPr lang="en-US"/>
              </a:p>
            </p:txBody>
          </p:sp>
          <p:sp>
            <p:nvSpPr>
              <p:cNvPr id="128" name="Freeform 127">
                <a:extLst>
                  <a:ext uri="{FF2B5EF4-FFF2-40B4-BE49-F238E27FC236}">
                    <a16:creationId xmlns:a16="http://schemas.microsoft.com/office/drawing/2014/main" id="{EB95A812-D1A9-B146-9E45-51CC33D7B718}"/>
                  </a:ext>
                </a:extLst>
              </p:cNvPr>
              <p:cNvSpPr/>
              <p:nvPr/>
            </p:nvSpPr>
            <p:spPr>
              <a:xfrm>
                <a:off x="8604313" y="3066926"/>
                <a:ext cx="118991" cy="578321"/>
              </a:xfrm>
              <a:custGeom>
                <a:avLst/>
                <a:gdLst>
                  <a:gd name="connsiteX0" fmla="*/ 0 w 64377"/>
                  <a:gd name="connsiteY0" fmla="*/ 0 h 312885"/>
                  <a:gd name="connsiteX1" fmla="*/ 64378 w 64377"/>
                  <a:gd name="connsiteY1" fmla="*/ 0 h 312885"/>
                  <a:gd name="connsiteX2" fmla="*/ 64378 w 64377"/>
                  <a:gd name="connsiteY2" fmla="*/ 312885 h 312885"/>
                  <a:gd name="connsiteX3" fmla="*/ 0 w 64377"/>
                  <a:gd name="connsiteY3" fmla="*/ 312885 h 312885"/>
                </a:gdLst>
                <a:ahLst/>
                <a:cxnLst>
                  <a:cxn ang="0">
                    <a:pos x="connsiteX0" y="connsiteY0"/>
                  </a:cxn>
                  <a:cxn ang="0">
                    <a:pos x="connsiteX1" y="connsiteY1"/>
                  </a:cxn>
                  <a:cxn ang="0">
                    <a:pos x="connsiteX2" y="connsiteY2"/>
                  </a:cxn>
                  <a:cxn ang="0">
                    <a:pos x="connsiteX3" y="connsiteY3"/>
                  </a:cxn>
                </a:cxnLst>
                <a:rect l="l" t="t" r="r" b="b"/>
                <a:pathLst>
                  <a:path w="64377" h="312885">
                    <a:moveTo>
                      <a:pt x="0" y="0"/>
                    </a:moveTo>
                    <a:lnTo>
                      <a:pt x="64378" y="0"/>
                    </a:lnTo>
                    <a:lnTo>
                      <a:pt x="64378" y="312885"/>
                    </a:lnTo>
                    <a:lnTo>
                      <a:pt x="0" y="312885"/>
                    </a:lnTo>
                    <a:close/>
                  </a:path>
                </a:pathLst>
              </a:custGeom>
              <a:grpFill/>
              <a:ln w="1019" cap="flat">
                <a:noFill/>
                <a:prstDash val="solid"/>
                <a:miter/>
              </a:ln>
            </p:spPr>
            <p:txBody>
              <a:bodyPr rtlCol="0" anchor="ctr"/>
              <a:lstStyle/>
              <a:p>
                <a:endParaRPr lang="en-US"/>
              </a:p>
            </p:txBody>
          </p:sp>
          <p:grpSp>
            <p:nvGrpSpPr>
              <p:cNvPr id="129" name="Graphic 133">
                <a:extLst>
                  <a:ext uri="{FF2B5EF4-FFF2-40B4-BE49-F238E27FC236}">
                    <a16:creationId xmlns:a16="http://schemas.microsoft.com/office/drawing/2014/main" id="{98053189-3B16-774E-9295-8954EA62F3C9}"/>
                  </a:ext>
                </a:extLst>
              </p:cNvPr>
              <p:cNvGrpSpPr/>
              <p:nvPr/>
            </p:nvGrpSpPr>
            <p:grpSpPr>
              <a:xfrm>
                <a:off x="8787610" y="3557624"/>
                <a:ext cx="99946" cy="99683"/>
                <a:chOff x="10186981" y="5710830"/>
                <a:chExt cx="54073" cy="53931"/>
              </a:xfrm>
              <a:grpFill/>
            </p:grpSpPr>
            <p:sp>
              <p:nvSpPr>
                <p:cNvPr id="135" name="Freeform 134">
                  <a:extLst>
                    <a:ext uri="{FF2B5EF4-FFF2-40B4-BE49-F238E27FC236}">
                      <a16:creationId xmlns:a16="http://schemas.microsoft.com/office/drawing/2014/main" id="{EA13E5FD-7BCD-8248-BF01-3C70AA6ADD74}"/>
                    </a:ext>
                  </a:extLst>
                </p:cNvPr>
                <p:cNvSpPr/>
                <p:nvPr/>
              </p:nvSpPr>
              <p:spPr>
                <a:xfrm>
                  <a:off x="10186981" y="5710830"/>
                  <a:ext cx="54073" cy="53931"/>
                </a:xfrm>
                <a:custGeom>
                  <a:avLst/>
                  <a:gdLst>
                    <a:gd name="connsiteX0" fmla="*/ 27139 w 54073"/>
                    <a:gd name="connsiteY0" fmla="*/ 0 h 53931"/>
                    <a:gd name="connsiteX1" fmla="*/ 0 w 54073"/>
                    <a:gd name="connsiteY1" fmla="*/ 26915 h 53931"/>
                    <a:gd name="connsiteX2" fmla="*/ 27139 w 54073"/>
                    <a:gd name="connsiteY2" fmla="*/ 53932 h 53931"/>
                    <a:gd name="connsiteX3" fmla="*/ 54073 w 54073"/>
                    <a:gd name="connsiteY3" fmla="*/ 26915 h 53931"/>
                    <a:gd name="connsiteX4" fmla="*/ 27139 w 54073"/>
                    <a:gd name="connsiteY4" fmla="*/ 0 h 53931"/>
                    <a:gd name="connsiteX5" fmla="*/ 27139 w 54073"/>
                    <a:gd name="connsiteY5" fmla="*/ 49242 h 53931"/>
                    <a:gd name="connsiteX6" fmla="*/ 4795 w 54073"/>
                    <a:gd name="connsiteY6" fmla="*/ 26915 h 53931"/>
                    <a:gd name="connsiteX7" fmla="*/ 27139 w 54073"/>
                    <a:gd name="connsiteY7" fmla="*/ 4690 h 53931"/>
                    <a:gd name="connsiteX8" fmla="*/ 49380 w 54073"/>
                    <a:gd name="connsiteY8" fmla="*/ 26915 h 53931"/>
                    <a:gd name="connsiteX9" fmla="*/ 27139 w 54073"/>
                    <a:gd name="connsiteY9" fmla="*/ 49242 h 53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073" h="53931">
                      <a:moveTo>
                        <a:pt x="27139" y="0"/>
                      </a:moveTo>
                      <a:cubicBezTo>
                        <a:pt x="12141" y="0"/>
                        <a:pt x="0" y="12030"/>
                        <a:pt x="0" y="26915"/>
                      </a:cubicBezTo>
                      <a:cubicBezTo>
                        <a:pt x="0" y="41902"/>
                        <a:pt x="12039" y="53932"/>
                        <a:pt x="27139" y="53932"/>
                      </a:cubicBezTo>
                      <a:cubicBezTo>
                        <a:pt x="42034" y="53932"/>
                        <a:pt x="54073" y="41902"/>
                        <a:pt x="54073" y="26915"/>
                      </a:cubicBezTo>
                      <a:cubicBezTo>
                        <a:pt x="54073" y="12030"/>
                        <a:pt x="42137" y="0"/>
                        <a:pt x="27139" y="0"/>
                      </a:cubicBezTo>
                      <a:close/>
                      <a:moveTo>
                        <a:pt x="27139" y="49242"/>
                      </a:moveTo>
                      <a:cubicBezTo>
                        <a:pt x="14794" y="49242"/>
                        <a:pt x="4795" y="39251"/>
                        <a:pt x="4795" y="26915"/>
                      </a:cubicBezTo>
                      <a:cubicBezTo>
                        <a:pt x="4795" y="14681"/>
                        <a:pt x="14794" y="4690"/>
                        <a:pt x="27139" y="4690"/>
                      </a:cubicBezTo>
                      <a:cubicBezTo>
                        <a:pt x="39382" y="4690"/>
                        <a:pt x="49380" y="14681"/>
                        <a:pt x="49380" y="26915"/>
                      </a:cubicBezTo>
                      <a:cubicBezTo>
                        <a:pt x="49380" y="39251"/>
                        <a:pt x="39484" y="49242"/>
                        <a:pt x="27139" y="49242"/>
                      </a:cubicBezTo>
                      <a:close/>
                    </a:path>
                  </a:pathLst>
                </a:custGeom>
                <a:grpFill/>
                <a:ln w="1019" cap="flat">
                  <a:noFill/>
                  <a:prstDash val="solid"/>
                  <a:miter/>
                </a:ln>
              </p:spPr>
              <p:txBody>
                <a:bodyPr rtlCol="0" anchor="ctr"/>
                <a:lstStyle/>
                <a:p>
                  <a:endParaRPr lang="en-US"/>
                </a:p>
              </p:txBody>
            </p:sp>
            <p:sp>
              <p:nvSpPr>
                <p:cNvPr id="136" name="Freeform 135">
                  <a:extLst>
                    <a:ext uri="{FF2B5EF4-FFF2-40B4-BE49-F238E27FC236}">
                      <a16:creationId xmlns:a16="http://schemas.microsoft.com/office/drawing/2014/main" id="{4EAD62D4-130A-0C41-A8FE-34AC098CACE0}"/>
                    </a:ext>
                  </a:extLst>
                </p:cNvPr>
                <p:cNvSpPr/>
                <p:nvPr/>
              </p:nvSpPr>
              <p:spPr>
                <a:xfrm>
                  <a:off x="10203815" y="5721432"/>
                  <a:ext cx="21425" cy="31808"/>
                </a:xfrm>
                <a:custGeom>
                  <a:avLst/>
                  <a:gdLst>
                    <a:gd name="connsiteX0" fmla="*/ 20303 w 21425"/>
                    <a:gd name="connsiteY0" fmla="*/ 22531 h 31808"/>
                    <a:gd name="connsiteX1" fmla="*/ 15304 w 21425"/>
                    <a:gd name="connsiteY1" fmla="*/ 16312 h 31808"/>
                    <a:gd name="connsiteX2" fmla="*/ 15304 w 21425"/>
                    <a:gd name="connsiteY2" fmla="*/ 16210 h 31808"/>
                    <a:gd name="connsiteX3" fmla="*/ 21323 w 21425"/>
                    <a:gd name="connsiteY3" fmla="*/ 8768 h 31808"/>
                    <a:gd name="connsiteX4" fmla="*/ 9896 w 21425"/>
                    <a:gd name="connsiteY4" fmla="*/ 0 h 31808"/>
                    <a:gd name="connsiteX5" fmla="*/ 0 w 21425"/>
                    <a:gd name="connsiteY5" fmla="*/ 0 h 31808"/>
                    <a:gd name="connsiteX6" fmla="*/ 0 w 21425"/>
                    <a:gd name="connsiteY6" fmla="*/ 31707 h 31808"/>
                    <a:gd name="connsiteX7" fmla="*/ 5407 w 21425"/>
                    <a:gd name="connsiteY7" fmla="*/ 31707 h 31808"/>
                    <a:gd name="connsiteX8" fmla="*/ 5407 w 21425"/>
                    <a:gd name="connsiteY8" fmla="*/ 18453 h 31808"/>
                    <a:gd name="connsiteX9" fmla="*/ 8774 w 21425"/>
                    <a:gd name="connsiteY9" fmla="*/ 18453 h 31808"/>
                    <a:gd name="connsiteX10" fmla="*/ 15406 w 21425"/>
                    <a:gd name="connsiteY10" fmla="*/ 26099 h 31808"/>
                    <a:gd name="connsiteX11" fmla="*/ 16120 w 21425"/>
                    <a:gd name="connsiteY11" fmla="*/ 31808 h 31808"/>
                    <a:gd name="connsiteX12" fmla="*/ 21425 w 21425"/>
                    <a:gd name="connsiteY12" fmla="*/ 31808 h 31808"/>
                    <a:gd name="connsiteX13" fmla="*/ 20303 w 21425"/>
                    <a:gd name="connsiteY13" fmla="*/ 22531 h 31808"/>
                    <a:gd name="connsiteX14" fmla="*/ 10203 w 21425"/>
                    <a:gd name="connsiteY14" fmla="*/ 14069 h 31808"/>
                    <a:gd name="connsiteX15" fmla="*/ 5407 w 21425"/>
                    <a:gd name="connsiteY15" fmla="*/ 14069 h 31808"/>
                    <a:gd name="connsiteX16" fmla="*/ 5407 w 21425"/>
                    <a:gd name="connsiteY16" fmla="*/ 4486 h 31808"/>
                    <a:gd name="connsiteX17" fmla="*/ 10203 w 21425"/>
                    <a:gd name="connsiteY17" fmla="*/ 4486 h 31808"/>
                    <a:gd name="connsiteX18" fmla="*/ 15814 w 21425"/>
                    <a:gd name="connsiteY18" fmla="*/ 9278 h 31808"/>
                    <a:gd name="connsiteX19" fmla="*/ 10203 w 21425"/>
                    <a:gd name="connsiteY19" fmla="*/ 14069 h 31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425" h="31808">
                      <a:moveTo>
                        <a:pt x="20303" y="22531"/>
                      </a:moveTo>
                      <a:cubicBezTo>
                        <a:pt x="19895" y="19065"/>
                        <a:pt x="18467" y="17026"/>
                        <a:pt x="15304" y="16312"/>
                      </a:cubicBezTo>
                      <a:lnTo>
                        <a:pt x="15304" y="16210"/>
                      </a:lnTo>
                      <a:cubicBezTo>
                        <a:pt x="18365" y="15598"/>
                        <a:pt x="21323" y="13559"/>
                        <a:pt x="21323" y="8768"/>
                      </a:cubicBezTo>
                      <a:cubicBezTo>
                        <a:pt x="21323" y="2549"/>
                        <a:pt x="16324" y="0"/>
                        <a:pt x="9896" y="0"/>
                      </a:cubicBezTo>
                      <a:lnTo>
                        <a:pt x="0" y="0"/>
                      </a:lnTo>
                      <a:lnTo>
                        <a:pt x="0" y="31707"/>
                      </a:lnTo>
                      <a:lnTo>
                        <a:pt x="5407" y="31707"/>
                      </a:lnTo>
                      <a:lnTo>
                        <a:pt x="5407" y="18453"/>
                      </a:lnTo>
                      <a:lnTo>
                        <a:pt x="8774" y="18453"/>
                      </a:lnTo>
                      <a:cubicBezTo>
                        <a:pt x="12855" y="18453"/>
                        <a:pt x="14692" y="20492"/>
                        <a:pt x="15406" y="26099"/>
                      </a:cubicBezTo>
                      <a:cubicBezTo>
                        <a:pt x="15610" y="28036"/>
                        <a:pt x="16120" y="31808"/>
                        <a:pt x="16120" y="31808"/>
                      </a:cubicBezTo>
                      <a:lnTo>
                        <a:pt x="21425" y="31808"/>
                      </a:lnTo>
                      <a:cubicBezTo>
                        <a:pt x="21425" y="31808"/>
                        <a:pt x="20711" y="25895"/>
                        <a:pt x="20303" y="22531"/>
                      </a:cubicBezTo>
                      <a:close/>
                      <a:moveTo>
                        <a:pt x="10203" y="14069"/>
                      </a:moveTo>
                      <a:lnTo>
                        <a:pt x="5407" y="14069"/>
                      </a:lnTo>
                      <a:lnTo>
                        <a:pt x="5407" y="4486"/>
                      </a:lnTo>
                      <a:lnTo>
                        <a:pt x="10203" y="4486"/>
                      </a:lnTo>
                      <a:cubicBezTo>
                        <a:pt x="14182" y="4486"/>
                        <a:pt x="15814" y="6933"/>
                        <a:pt x="15814" y="9278"/>
                      </a:cubicBezTo>
                      <a:cubicBezTo>
                        <a:pt x="15814" y="11724"/>
                        <a:pt x="13977" y="14069"/>
                        <a:pt x="10203" y="14069"/>
                      </a:cubicBezTo>
                      <a:close/>
                    </a:path>
                  </a:pathLst>
                </a:custGeom>
                <a:grpFill/>
                <a:ln w="1019" cap="flat">
                  <a:noFill/>
                  <a:prstDash val="solid"/>
                  <a:miter/>
                </a:ln>
              </p:spPr>
              <p:txBody>
                <a:bodyPr rtlCol="0" anchor="ctr"/>
                <a:lstStyle/>
                <a:p>
                  <a:endParaRPr lang="en-US"/>
                </a:p>
              </p:txBody>
            </p:sp>
          </p:grpSp>
          <p:sp>
            <p:nvSpPr>
              <p:cNvPr id="130" name="Freeform 129">
                <a:extLst>
                  <a:ext uri="{FF2B5EF4-FFF2-40B4-BE49-F238E27FC236}">
                    <a16:creationId xmlns:a16="http://schemas.microsoft.com/office/drawing/2014/main" id="{06068AE4-36C3-5643-A506-01A996069A7D}"/>
                  </a:ext>
                </a:extLst>
              </p:cNvPr>
              <p:cNvSpPr/>
              <p:nvPr/>
            </p:nvSpPr>
            <p:spPr>
              <a:xfrm>
                <a:off x="8164171" y="3231058"/>
                <a:ext cx="360938" cy="425873"/>
              </a:xfrm>
              <a:custGeom>
                <a:avLst/>
                <a:gdLst>
                  <a:gd name="connsiteX0" fmla="*/ 91415 w 195276"/>
                  <a:gd name="connsiteY0" fmla="*/ 0 h 230407"/>
                  <a:gd name="connsiteX1" fmla="*/ 5917 w 195276"/>
                  <a:gd name="connsiteY1" fmla="*/ 38639 h 230407"/>
                  <a:gd name="connsiteX2" fmla="*/ 42238 w 195276"/>
                  <a:gd name="connsiteY2" fmla="*/ 66370 h 230407"/>
                  <a:gd name="connsiteX3" fmla="*/ 87027 w 195276"/>
                  <a:gd name="connsiteY3" fmla="*/ 44654 h 230407"/>
                  <a:gd name="connsiteX4" fmla="*/ 132633 w 195276"/>
                  <a:gd name="connsiteY4" fmla="*/ 81662 h 230407"/>
                  <a:gd name="connsiteX5" fmla="*/ 132633 w 195276"/>
                  <a:gd name="connsiteY5" fmla="*/ 86454 h 230407"/>
                  <a:gd name="connsiteX6" fmla="*/ 104984 w 195276"/>
                  <a:gd name="connsiteY6" fmla="*/ 86454 h 230407"/>
                  <a:gd name="connsiteX7" fmla="*/ 0 w 195276"/>
                  <a:gd name="connsiteY7" fmla="*/ 159858 h 230407"/>
                  <a:gd name="connsiteX8" fmla="*/ 71213 w 195276"/>
                  <a:gd name="connsiteY8" fmla="*/ 230408 h 230407"/>
                  <a:gd name="connsiteX9" fmla="*/ 133551 w 195276"/>
                  <a:gd name="connsiteY9" fmla="*/ 202167 h 230407"/>
                  <a:gd name="connsiteX10" fmla="*/ 134367 w 195276"/>
                  <a:gd name="connsiteY10" fmla="*/ 202167 h 230407"/>
                  <a:gd name="connsiteX11" fmla="*/ 134367 w 195276"/>
                  <a:gd name="connsiteY11" fmla="*/ 223883 h 230407"/>
                  <a:gd name="connsiteX12" fmla="*/ 195276 w 195276"/>
                  <a:gd name="connsiteY12" fmla="*/ 223883 h 230407"/>
                  <a:gd name="connsiteX13" fmla="*/ 195276 w 195276"/>
                  <a:gd name="connsiteY13" fmla="*/ 86250 h 230407"/>
                  <a:gd name="connsiteX14" fmla="*/ 91415 w 195276"/>
                  <a:gd name="connsiteY14" fmla="*/ 0 h 230407"/>
                  <a:gd name="connsiteX15" fmla="*/ 132633 w 195276"/>
                  <a:gd name="connsiteY15" fmla="*/ 137531 h 230407"/>
                  <a:gd name="connsiteX16" fmla="*/ 94271 w 195276"/>
                  <a:gd name="connsiteY16" fmla="*/ 185651 h 230407"/>
                  <a:gd name="connsiteX17" fmla="*/ 62541 w 195276"/>
                  <a:gd name="connsiteY17" fmla="*/ 156290 h 230407"/>
                  <a:gd name="connsiteX18" fmla="*/ 107943 w 195276"/>
                  <a:gd name="connsiteY18" fmla="*/ 124379 h 230407"/>
                  <a:gd name="connsiteX19" fmla="*/ 132633 w 195276"/>
                  <a:gd name="connsiteY19" fmla="*/ 124379 h 230407"/>
                  <a:gd name="connsiteX20" fmla="*/ 132633 w 195276"/>
                  <a:gd name="connsiteY20" fmla="*/ 137531 h 230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5276" h="230407">
                    <a:moveTo>
                      <a:pt x="91415" y="0"/>
                    </a:moveTo>
                    <a:cubicBezTo>
                      <a:pt x="33668" y="0"/>
                      <a:pt x="11937" y="30993"/>
                      <a:pt x="5917" y="38639"/>
                    </a:cubicBezTo>
                    <a:lnTo>
                      <a:pt x="42238" y="66370"/>
                    </a:lnTo>
                    <a:cubicBezTo>
                      <a:pt x="48054" y="58417"/>
                      <a:pt x="62133" y="44654"/>
                      <a:pt x="87027" y="44654"/>
                    </a:cubicBezTo>
                    <a:cubicBezTo>
                      <a:pt x="115084" y="44654"/>
                      <a:pt x="132633" y="58214"/>
                      <a:pt x="132633" y="81662"/>
                    </a:cubicBezTo>
                    <a:lnTo>
                      <a:pt x="132633" y="86454"/>
                    </a:lnTo>
                    <a:cubicBezTo>
                      <a:pt x="132633" y="86454"/>
                      <a:pt x="107943" y="86454"/>
                      <a:pt x="104984" y="86454"/>
                    </a:cubicBezTo>
                    <a:cubicBezTo>
                      <a:pt x="41422" y="86454"/>
                      <a:pt x="0" y="109902"/>
                      <a:pt x="0" y="159858"/>
                    </a:cubicBezTo>
                    <a:cubicBezTo>
                      <a:pt x="0" y="202371"/>
                      <a:pt x="30403" y="230408"/>
                      <a:pt x="71213" y="230408"/>
                    </a:cubicBezTo>
                    <a:cubicBezTo>
                      <a:pt x="115186" y="230408"/>
                      <a:pt x="130286" y="206551"/>
                      <a:pt x="133551" y="202167"/>
                    </a:cubicBezTo>
                    <a:lnTo>
                      <a:pt x="134367" y="202167"/>
                    </a:lnTo>
                    <a:cubicBezTo>
                      <a:pt x="134367" y="211241"/>
                      <a:pt x="134367" y="223883"/>
                      <a:pt x="134367" y="223883"/>
                    </a:cubicBezTo>
                    <a:lnTo>
                      <a:pt x="195276" y="223883"/>
                    </a:lnTo>
                    <a:lnTo>
                      <a:pt x="195276" y="86250"/>
                    </a:lnTo>
                    <a:cubicBezTo>
                      <a:pt x="195276" y="24060"/>
                      <a:pt x="145488" y="0"/>
                      <a:pt x="91415" y="0"/>
                    </a:cubicBezTo>
                    <a:close/>
                    <a:moveTo>
                      <a:pt x="132633" y="137531"/>
                    </a:moveTo>
                    <a:cubicBezTo>
                      <a:pt x="132531" y="163120"/>
                      <a:pt x="121410" y="185651"/>
                      <a:pt x="94271" y="185651"/>
                    </a:cubicBezTo>
                    <a:cubicBezTo>
                      <a:pt x="76111" y="185651"/>
                      <a:pt x="62541" y="174539"/>
                      <a:pt x="62541" y="156290"/>
                    </a:cubicBezTo>
                    <a:cubicBezTo>
                      <a:pt x="62541" y="138041"/>
                      <a:pt x="75090" y="124379"/>
                      <a:pt x="107943" y="124379"/>
                    </a:cubicBezTo>
                    <a:cubicBezTo>
                      <a:pt x="109575" y="124379"/>
                      <a:pt x="132633" y="124379"/>
                      <a:pt x="132633" y="124379"/>
                    </a:cubicBezTo>
                    <a:cubicBezTo>
                      <a:pt x="132633" y="124379"/>
                      <a:pt x="132633" y="137225"/>
                      <a:pt x="132633" y="137531"/>
                    </a:cubicBezTo>
                    <a:close/>
                  </a:path>
                </a:pathLst>
              </a:custGeom>
              <a:grpFill/>
              <a:ln w="1019" cap="flat">
                <a:noFill/>
                <a:prstDash val="solid"/>
                <a:miter/>
              </a:ln>
            </p:spPr>
            <p:txBody>
              <a:bodyPr rtlCol="0" anchor="ctr"/>
              <a:lstStyle/>
              <a:p>
                <a:endParaRPr lang="en-US"/>
              </a:p>
            </p:txBody>
          </p:sp>
          <p:sp>
            <p:nvSpPr>
              <p:cNvPr id="131" name="Freeform 130">
                <a:extLst>
                  <a:ext uri="{FF2B5EF4-FFF2-40B4-BE49-F238E27FC236}">
                    <a16:creationId xmlns:a16="http://schemas.microsoft.com/office/drawing/2014/main" id="{0CB94559-20F3-0848-AE03-80A1322B07B9}"/>
                  </a:ext>
                </a:extLst>
              </p:cNvPr>
              <p:cNvSpPr/>
              <p:nvPr/>
            </p:nvSpPr>
            <p:spPr>
              <a:xfrm>
                <a:off x="7094176" y="3243118"/>
                <a:ext cx="118991" cy="402129"/>
              </a:xfrm>
              <a:custGeom>
                <a:avLst/>
                <a:gdLst>
                  <a:gd name="connsiteX0" fmla="*/ 0 w 64377"/>
                  <a:gd name="connsiteY0" fmla="*/ 0 h 217561"/>
                  <a:gd name="connsiteX1" fmla="*/ 64378 w 64377"/>
                  <a:gd name="connsiteY1" fmla="*/ 0 h 217561"/>
                  <a:gd name="connsiteX2" fmla="*/ 64378 w 64377"/>
                  <a:gd name="connsiteY2" fmla="*/ 217562 h 217561"/>
                  <a:gd name="connsiteX3" fmla="*/ 0 w 64377"/>
                  <a:gd name="connsiteY3" fmla="*/ 217562 h 217561"/>
                </a:gdLst>
                <a:ahLst/>
                <a:cxnLst>
                  <a:cxn ang="0">
                    <a:pos x="connsiteX0" y="connsiteY0"/>
                  </a:cxn>
                  <a:cxn ang="0">
                    <a:pos x="connsiteX1" y="connsiteY1"/>
                  </a:cxn>
                  <a:cxn ang="0">
                    <a:pos x="connsiteX2" y="connsiteY2"/>
                  </a:cxn>
                  <a:cxn ang="0">
                    <a:pos x="connsiteX3" y="connsiteY3"/>
                  </a:cxn>
                </a:cxnLst>
                <a:rect l="l" t="t" r="r" b="b"/>
                <a:pathLst>
                  <a:path w="64377" h="217561">
                    <a:moveTo>
                      <a:pt x="0" y="0"/>
                    </a:moveTo>
                    <a:lnTo>
                      <a:pt x="64378" y="0"/>
                    </a:lnTo>
                    <a:lnTo>
                      <a:pt x="64378" y="217562"/>
                    </a:lnTo>
                    <a:lnTo>
                      <a:pt x="0" y="217562"/>
                    </a:lnTo>
                    <a:close/>
                  </a:path>
                </a:pathLst>
              </a:custGeom>
              <a:grpFill/>
              <a:ln w="1019" cap="flat">
                <a:noFill/>
                <a:prstDash val="solid"/>
                <a:miter/>
              </a:ln>
            </p:spPr>
            <p:txBody>
              <a:bodyPr rtlCol="0" anchor="ctr"/>
              <a:lstStyle/>
              <a:p>
                <a:endParaRPr lang="en-US"/>
              </a:p>
            </p:txBody>
          </p:sp>
          <p:sp>
            <p:nvSpPr>
              <p:cNvPr id="132" name="Freeform 131">
                <a:extLst>
                  <a:ext uri="{FF2B5EF4-FFF2-40B4-BE49-F238E27FC236}">
                    <a16:creationId xmlns:a16="http://schemas.microsoft.com/office/drawing/2014/main" id="{20643B3B-21E1-D447-8FF4-86D05B33D14F}"/>
                  </a:ext>
                </a:extLst>
              </p:cNvPr>
              <p:cNvSpPr/>
              <p:nvPr/>
            </p:nvSpPr>
            <p:spPr>
              <a:xfrm>
                <a:off x="7088707" y="3057128"/>
                <a:ext cx="129741" cy="129645"/>
              </a:xfrm>
              <a:custGeom>
                <a:avLst/>
                <a:gdLst>
                  <a:gd name="connsiteX0" fmla="*/ 70194 w 70193"/>
                  <a:gd name="connsiteY0" fmla="*/ 35071 h 70141"/>
                  <a:gd name="connsiteX1" fmla="*/ 35097 w 70193"/>
                  <a:gd name="connsiteY1" fmla="*/ 70142 h 70141"/>
                  <a:gd name="connsiteX2" fmla="*/ 0 w 70193"/>
                  <a:gd name="connsiteY2" fmla="*/ 35071 h 70141"/>
                  <a:gd name="connsiteX3" fmla="*/ 35097 w 70193"/>
                  <a:gd name="connsiteY3" fmla="*/ 0 h 70141"/>
                  <a:gd name="connsiteX4" fmla="*/ 70194 w 70193"/>
                  <a:gd name="connsiteY4" fmla="*/ 35071 h 701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193" h="70141">
                    <a:moveTo>
                      <a:pt x="70194" y="35071"/>
                    </a:moveTo>
                    <a:cubicBezTo>
                      <a:pt x="70194" y="54440"/>
                      <a:pt x="54480" y="70142"/>
                      <a:pt x="35097" y="70142"/>
                    </a:cubicBezTo>
                    <a:cubicBezTo>
                      <a:pt x="15714" y="70142"/>
                      <a:pt x="0" y="54440"/>
                      <a:pt x="0" y="35071"/>
                    </a:cubicBezTo>
                    <a:cubicBezTo>
                      <a:pt x="0" y="15702"/>
                      <a:pt x="15714" y="0"/>
                      <a:pt x="35097" y="0"/>
                    </a:cubicBezTo>
                    <a:cubicBezTo>
                      <a:pt x="54480" y="0"/>
                      <a:pt x="70194" y="15702"/>
                      <a:pt x="70194" y="35071"/>
                    </a:cubicBezTo>
                    <a:close/>
                  </a:path>
                </a:pathLst>
              </a:custGeom>
              <a:grpFill/>
              <a:ln w="1019" cap="flat">
                <a:noFill/>
                <a:prstDash val="solid"/>
                <a:miter/>
              </a:ln>
            </p:spPr>
            <p:txBody>
              <a:bodyPr rtlCol="0" anchor="ctr"/>
              <a:lstStyle/>
              <a:p>
                <a:endParaRPr lang="en-US"/>
              </a:p>
            </p:txBody>
          </p:sp>
          <p:sp>
            <p:nvSpPr>
              <p:cNvPr id="133" name="Freeform 132">
                <a:extLst>
                  <a:ext uri="{FF2B5EF4-FFF2-40B4-BE49-F238E27FC236}">
                    <a16:creationId xmlns:a16="http://schemas.microsoft.com/office/drawing/2014/main" id="{A81A5EF8-4F1A-B04D-82D4-D47C7EC57CEA}"/>
                  </a:ext>
                </a:extLst>
              </p:cNvPr>
              <p:cNvSpPr/>
              <p:nvPr/>
            </p:nvSpPr>
            <p:spPr>
              <a:xfrm>
                <a:off x="7740246" y="3243118"/>
                <a:ext cx="118991" cy="402129"/>
              </a:xfrm>
              <a:custGeom>
                <a:avLst/>
                <a:gdLst>
                  <a:gd name="connsiteX0" fmla="*/ 0 w 64377"/>
                  <a:gd name="connsiteY0" fmla="*/ 0 h 217561"/>
                  <a:gd name="connsiteX1" fmla="*/ 64378 w 64377"/>
                  <a:gd name="connsiteY1" fmla="*/ 0 h 217561"/>
                  <a:gd name="connsiteX2" fmla="*/ 64378 w 64377"/>
                  <a:gd name="connsiteY2" fmla="*/ 217562 h 217561"/>
                  <a:gd name="connsiteX3" fmla="*/ 0 w 64377"/>
                  <a:gd name="connsiteY3" fmla="*/ 217562 h 217561"/>
                </a:gdLst>
                <a:ahLst/>
                <a:cxnLst>
                  <a:cxn ang="0">
                    <a:pos x="connsiteX0" y="connsiteY0"/>
                  </a:cxn>
                  <a:cxn ang="0">
                    <a:pos x="connsiteX1" y="connsiteY1"/>
                  </a:cxn>
                  <a:cxn ang="0">
                    <a:pos x="connsiteX2" y="connsiteY2"/>
                  </a:cxn>
                  <a:cxn ang="0">
                    <a:pos x="connsiteX3" y="connsiteY3"/>
                  </a:cxn>
                </a:cxnLst>
                <a:rect l="l" t="t" r="r" b="b"/>
                <a:pathLst>
                  <a:path w="64377" h="217561">
                    <a:moveTo>
                      <a:pt x="0" y="0"/>
                    </a:moveTo>
                    <a:lnTo>
                      <a:pt x="64378" y="0"/>
                    </a:lnTo>
                    <a:lnTo>
                      <a:pt x="64378" y="217562"/>
                    </a:lnTo>
                    <a:lnTo>
                      <a:pt x="0" y="217562"/>
                    </a:lnTo>
                    <a:close/>
                  </a:path>
                </a:pathLst>
              </a:custGeom>
              <a:grpFill/>
              <a:ln w="1019" cap="flat">
                <a:noFill/>
                <a:prstDash val="solid"/>
                <a:miter/>
              </a:ln>
            </p:spPr>
            <p:txBody>
              <a:bodyPr rtlCol="0" anchor="ctr"/>
              <a:lstStyle/>
              <a:p>
                <a:endParaRPr lang="en-US"/>
              </a:p>
            </p:txBody>
          </p:sp>
          <p:sp>
            <p:nvSpPr>
              <p:cNvPr id="134" name="Freeform 133">
                <a:extLst>
                  <a:ext uri="{FF2B5EF4-FFF2-40B4-BE49-F238E27FC236}">
                    <a16:creationId xmlns:a16="http://schemas.microsoft.com/office/drawing/2014/main" id="{6A000963-2FE6-714F-9EF5-4FCC95AAD373}"/>
                  </a:ext>
                </a:extLst>
              </p:cNvPr>
              <p:cNvSpPr/>
              <p:nvPr/>
            </p:nvSpPr>
            <p:spPr>
              <a:xfrm>
                <a:off x="7734777" y="3057128"/>
                <a:ext cx="129741" cy="129645"/>
              </a:xfrm>
              <a:custGeom>
                <a:avLst/>
                <a:gdLst>
                  <a:gd name="connsiteX0" fmla="*/ 70193 w 70193"/>
                  <a:gd name="connsiteY0" fmla="*/ 35071 h 70141"/>
                  <a:gd name="connsiteX1" fmla="*/ 35097 w 70193"/>
                  <a:gd name="connsiteY1" fmla="*/ 70142 h 70141"/>
                  <a:gd name="connsiteX2" fmla="*/ 0 w 70193"/>
                  <a:gd name="connsiteY2" fmla="*/ 35071 h 70141"/>
                  <a:gd name="connsiteX3" fmla="*/ 35097 w 70193"/>
                  <a:gd name="connsiteY3" fmla="*/ 0 h 70141"/>
                  <a:gd name="connsiteX4" fmla="*/ 70193 w 70193"/>
                  <a:gd name="connsiteY4" fmla="*/ 35071 h 701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193" h="70141">
                    <a:moveTo>
                      <a:pt x="70193" y="35071"/>
                    </a:moveTo>
                    <a:cubicBezTo>
                      <a:pt x="70193" y="54440"/>
                      <a:pt x="54480" y="70142"/>
                      <a:pt x="35097" y="70142"/>
                    </a:cubicBezTo>
                    <a:cubicBezTo>
                      <a:pt x="15713" y="70142"/>
                      <a:pt x="0" y="54440"/>
                      <a:pt x="0" y="35071"/>
                    </a:cubicBezTo>
                    <a:cubicBezTo>
                      <a:pt x="0" y="15702"/>
                      <a:pt x="15713" y="0"/>
                      <a:pt x="35097" y="0"/>
                    </a:cubicBezTo>
                    <a:cubicBezTo>
                      <a:pt x="54480" y="0"/>
                      <a:pt x="70193" y="15702"/>
                      <a:pt x="70193" y="35071"/>
                    </a:cubicBezTo>
                    <a:close/>
                  </a:path>
                </a:pathLst>
              </a:custGeom>
              <a:grpFill/>
              <a:ln w="1019" cap="flat">
                <a:noFill/>
                <a:prstDash val="solid"/>
                <a:miter/>
              </a:ln>
            </p:spPr>
            <p:txBody>
              <a:bodyPr rtlCol="0" anchor="ctr"/>
              <a:lstStyle/>
              <a:p>
                <a:endParaRPr lang="en-US"/>
              </a:p>
            </p:txBody>
          </p:sp>
        </p:grpSp>
        <p:grpSp>
          <p:nvGrpSpPr>
            <p:cNvPr id="137" name="Group 136">
              <a:extLst>
                <a:ext uri="{FF2B5EF4-FFF2-40B4-BE49-F238E27FC236}">
                  <a16:creationId xmlns:a16="http://schemas.microsoft.com/office/drawing/2014/main" id="{F14141F4-BA3B-E74B-AD6E-903694A5E279}"/>
                </a:ext>
              </a:extLst>
            </p:cNvPr>
            <p:cNvGrpSpPr/>
            <p:nvPr/>
          </p:nvGrpSpPr>
          <p:grpSpPr>
            <a:xfrm>
              <a:off x="7662373" y="2131511"/>
              <a:ext cx="1218017" cy="651426"/>
              <a:chOff x="7662373" y="2131511"/>
              <a:chExt cx="1218017" cy="651426"/>
            </a:xfrm>
          </p:grpSpPr>
          <p:sp>
            <p:nvSpPr>
              <p:cNvPr id="138" name="Freeform 137">
                <a:extLst>
                  <a:ext uri="{FF2B5EF4-FFF2-40B4-BE49-F238E27FC236}">
                    <a16:creationId xmlns:a16="http://schemas.microsoft.com/office/drawing/2014/main" id="{C8A8B685-7EBF-CA44-9E31-09A99E3E3DDB}"/>
                  </a:ext>
                </a:extLst>
              </p:cNvPr>
              <p:cNvSpPr/>
              <p:nvPr/>
            </p:nvSpPr>
            <p:spPr>
              <a:xfrm>
                <a:off x="8438751" y="2131511"/>
                <a:ext cx="284365" cy="284156"/>
              </a:xfrm>
              <a:custGeom>
                <a:avLst/>
                <a:gdLst>
                  <a:gd name="connsiteX0" fmla="*/ 35703 w 153848"/>
                  <a:gd name="connsiteY0" fmla="*/ 0 h 153735"/>
                  <a:gd name="connsiteX1" fmla="*/ 118242 w 153848"/>
                  <a:gd name="connsiteY1" fmla="*/ 0 h 153735"/>
                  <a:gd name="connsiteX2" fmla="*/ 153848 w 153848"/>
                  <a:gd name="connsiteY2" fmla="*/ 35581 h 153735"/>
                  <a:gd name="connsiteX3" fmla="*/ 153848 w 153848"/>
                  <a:gd name="connsiteY3" fmla="*/ 118058 h 153735"/>
                  <a:gd name="connsiteX4" fmla="*/ 93041 w 153848"/>
                  <a:gd name="connsiteY4" fmla="*/ 143240 h 153735"/>
                  <a:gd name="connsiteX5" fmla="*/ 10503 w 153848"/>
                  <a:gd name="connsiteY5" fmla="*/ 60762 h 153735"/>
                  <a:gd name="connsiteX6" fmla="*/ 35703 w 153848"/>
                  <a:gd name="connsiteY6" fmla="*/ 0 h 153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3848" h="153735">
                    <a:moveTo>
                      <a:pt x="35703" y="0"/>
                    </a:moveTo>
                    <a:lnTo>
                      <a:pt x="118242" y="0"/>
                    </a:lnTo>
                    <a:cubicBezTo>
                      <a:pt x="137932" y="0"/>
                      <a:pt x="153848" y="15904"/>
                      <a:pt x="153848" y="35581"/>
                    </a:cubicBezTo>
                    <a:lnTo>
                      <a:pt x="153848" y="118058"/>
                    </a:lnTo>
                    <a:cubicBezTo>
                      <a:pt x="153848" y="149765"/>
                      <a:pt x="115487" y="165669"/>
                      <a:pt x="93041" y="143240"/>
                    </a:cubicBezTo>
                    <a:lnTo>
                      <a:pt x="10503" y="60762"/>
                    </a:lnTo>
                    <a:cubicBezTo>
                      <a:pt x="-11943" y="38333"/>
                      <a:pt x="3973" y="0"/>
                      <a:pt x="35703" y="0"/>
                    </a:cubicBezTo>
                    <a:close/>
                  </a:path>
                </a:pathLst>
              </a:custGeom>
              <a:solidFill>
                <a:srgbClr val="5DA7FB"/>
              </a:solidFill>
              <a:ln w="1019" cap="flat">
                <a:noFill/>
                <a:prstDash val="solid"/>
                <a:miter/>
              </a:ln>
            </p:spPr>
            <p:txBody>
              <a:bodyPr rtlCol="0" anchor="ctr"/>
              <a:lstStyle/>
              <a:p>
                <a:endParaRPr lang="en-US"/>
              </a:p>
            </p:txBody>
          </p:sp>
          <p:sp>
            <p:nvSpPr>
              <p:cNvPr id="139" name="Freeform 138">
                <a:extLst>
                  <a:ext uri="{FF2B5EF4-FFF2-40B4-BE49-F238E27FC236}">
                    <a16:creationId xmlns:a16="http://schemas.microsoft.com/office/drawing/2014/main" id="{41F903C7-BE45-7B48-ACA3-1A4DCAD8CA87}"/>
                  </a:ext>
                </a:extLst>
              </p:cNvPr>
              <p:cNvSpPr/>
              <p:nvPr/>
            </p:nvSpPr>
            <p:spPr>
              <a:xfrm>
                <a:off x="7662373" y="2131700"/>
                <a:ext cx="651715" cy="651237"/>
              </a:xfrm>
              <a:custGeom>
                <a:avLst/>
                <a:gdLst>
                  <a:gd name="connsiteX0" fmla="*/ 275769 w 352593"/>
                  <a:gd name="connsiteY0" fmla="*/ 198497 h 352334"/>
                  <a:gd name="connsiteX1" fmla="*/ 216798 w 352593"/>
                  <a:gd name="connsiteY1" fmla="*/ 198497 h 352334"/>
                  <a:gd name="connsiteX2" fmla="*/ 216798 w 352593"/>
                  <a:gd name="connsiteY2" fmla="*/ 198497 h 352334"/>
                  <a:gd name="connsiteX3" fmla="*/ 153849 w 352593"/>
                  <a:gd name="connsiteY3" fmla="*/ 135594 h 352334"/>
                  <a:gd name="connsiteX4" fmla="*/ 153849 w 352593"/>
                  <a:gd name="connsiteY4" fmla="*/ 135594 h 352334"/>
                  <a:gd name="connsiteX5" fmla="*/ 153849 w 352593"/>
                  <a:gd name="connsiteY5" fmla="*/ 135288 h 352334"/>
                  <a:gd name="connsiteX6" fmla="*/ 153849 w 352593"/>
                  <a:gd name="connsiteY6" fmla="*/ 135288 h 352334"/>
                  <a:gd name="connsiteX7" fmla="*/ 153849 w 352593"/>
                  <a:gd name="connsiteY7" fmla="*/ 135288 h 352334"/>
                  <a:gd name="connsiteX8" fmla="*/ 153849 w 352593"/>
                  <a:gd name="connsiteY8" fmla="*/ 76769 h 352334"/>
                  <a:gd name="connsiteX9" fmla="*/ 153849 w 352593"/>
                  <a:gd name="connsiteY9" fmla="*/ 35581 h 352334"/>
                  <a:gd name="connsiteX10" fmla="*/ 118242 w 352593"/>
                  <a:gd name="connsiteY10" fmla="*/ 0 h 352334"/>
                  <a:gd name="connsiteX11" fmla="*/ 35703 w 352593"/>
                  <a:gd name="connsiteY11" fmla="*/ 0 h 352334"/>
                  <a:gd name="connsiteX12" fmla="*/ 10503 w 352593"/>
                  <a:gd name="connsiteY12" fmla="*/ 60762 h 352334"/>
                  <a:gd name="connsiteX13" fmla="*/ 42029 w 352593"/>
                  <a:gd name="connsiteY13" fmla="*/ 92265 h 352334"/>
                  <a:gd name="connsiteX14" fmla="*/ 84879 w 352593"/>
                  <a:gd name="connsiteY14" fmla="*/ 135084 h 352334"/>
                  <a:gd name="connsiteX15" fmla="*/ 85593 w 352593"/>
                  <a:gd name="connsiteY15" fmla="*/ 135798 h 352334"/>
                  <a:gd name="connsiteX16" fmla="*/ 93041 w 352593"/>
                  <a:gd name="connsiteY16" fmla="*/ 143240 h 352334"/>
                  <a:gd name="connsiteX17" fmla="*/ 209350 w 352593"/>
                  <a:gd name="connsiteY17" fmla="*/ 259463 h 352334"/>
                  <a:gd name="connsiteX18" fmla="*/ 219247 w 352593"/>
                  <a:gd name="connsiteY18" fmla="*/ 269353 h 352334"/>
                  <a:gd name="connsiteX19" fmla="*/ 222410 w 352593"/>
                  <a:gd name="connsiteY19" fmla="*/ 272513 h 352334"/>
                  <a:gd name="connsiteX20" fmla="*/ 265260 w 352593"/>
                  <a:gd name="connsiteY20" fmla="*/ 315332 h 352334"/>
                  <a:gd name="connsiteX21" fmla="*/ 291787 w 352593"/>
                  <a:gd name="connsiteY21" fmla="*/ 341839 h 352334"/>
                  <a:gd name="connsiteX22" fmla="*/ 352594 w 352593"/>
                  <a:gd name="connsiteY22" fmla="*/ 316657 h 352334"/>
                  <a:gd name="connsiteX23" fmla="*/ 352594 w 352593"/>
                  <a:gd name="connsiteY23" fmla="*/ 234180 h 352334"/>
                  <a:gd name="connsiteX24" fmla="*/ 316987 w 352593"/>
                  <a:gd name="connsiteY24" fmla="*/ 198599 h 352334"/>
                  <a:gd name="connsiteX25" fmla="*/ 275769 w 352593"/>
                  <a:gd name="connsiteY25" fmla="*/ 198599 h 352334"/>
                  <a:gd name="connsiteX26" fmla="*/ 275769 w 352593"/>
                  <a:gd name="connsiteY26" fmla="*/ 198497 h 352334"/>
                  <a:gd name="connsiteX27" fmla="*/ 275769 w 352593"/>
                  <a:gd name="connsiteY27" fmla="*/ 198497 h 352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52593" h="352334">
                    <a:moveTo>
                      <a:pt x="275769" y="198497"/>
                    </a:moveTo>
                    <a:lnTo>
                      <a:pt x="216798" y="198497"/>
                    </a:lnTo>
                    <a:lnTo>
                      <a:pt x="216798" y="198497"/>
                    </a:lnTo>
                    <a:cubicBezTo>
                      <a:pt x="182110" y="198293"/>
                      <a:pt x="154053" y="170257"/>
                      <a:pt x="153849" y="135594"/>
                    </a:cubicBezTo>
                    <a:lnTo>
                      <a:pt x="153849" y="135594"/>
                    </a:lnTo>
                    <a:lnTo>
                      <a:pt x="153849" y="135288"/>
                    </a:lnTo>
                    <a:lnTo>
                      <a:pt x="153849" y="135288"/>
                    </a:lnTo>
                    <a:lnTo>
                      <a:pt x="153849" y="135288"/>
                    </a:lnTo>
                    <a:lnTo>
                      <a:pt x="153849" y="76769"/>
                    </a:lnTo>
                    <a:lnTo>
                      <a:pt x="153849" y="35581"/>
                    </a:lnTo>
                    <a:cubicBezTo>
                      <a:pt x="153849" y="15904"/>
                      <a:pt x="137932" y="0"/>
                      <a:pt x="118242" y="0"/>
                    </a:cubicBezTo>
                    <a:lnTo>
                      <a:pt x="35703" y="0"/>
                    </a:lnTo>
                    <a:cubicBezTo>
                      <a:pt x="3973" y="0"/>
                      <a:pt x="-11943" y="38333"/>
                      <a:pt x="10503" y="60762"/>
                    </a:cubicBezTo>
                    <a:lnTo>
                      <a:pt x="42029" y="92265"/>
                    </a:lnTo>
                    <a:lnTo>
                      <a:pt x="84879" y="135084"/>
                    </a:lnTo>
                    <a:lnTo>
                      <a:pt x="85593" y="135798"/>
                    </a:lnTo>
                    <a:lnTo>
                      <a:pt x="93041" y="143240"/>
                    </a:lnTo>
                    <a:lnTo>
                      <a:pt x="209350" y="259463"/>
                    </a:lnTo>
                    <a:lnTo>
                      <a:pt x="219247" y="269353"/>
                    </a:lnTo>
                    <a:lnTo>
                      <a:pt x="222410" y="272513"/>
                    </a:lnTo>
                    <a:lnTo>
                      <a:pt x="265260" y="315332"/>
                    </a:lnTo>
                    <a:lnTo>
                      <a:pt x="291787" y="341839"/>
                    </a:lnTo>
                    <a:cubicBezTo>
                      <a:pt x="314232" y="364268"/>
                      <a:pt x="352594" y="348364"/>
                      <a:pt x="352594" y="316657"/>
                    </a:cubicBezTo>
                    <a:lnTo>
                      <a:pt x="352594" y="234180"/>
                    </a:lnTo>
                    <a:cubicBezTo>
                      <a:pt x="352594" y="214503"/>
                      <a:pt x="336678" y="198599"/>
                      <a:pt x="316987" y="198599"/>
                    </a:cubicBezTo>
                    <a:lnTo>
                      <a:pt x="275769" y="198599"/>
                    </a:lnTo>
                    <a:lnTo>
                      <a:pt x="275769" y="198497"/>
                    </a:lnTo>
                    <a:lnTo>
                      <a:pt x="275769" y="198497"/>
                    </a:lnTo>
                    <a:close/>
                  </a:path>
                </a:pathLst>
              </a:custGeom>
              <a:solidFill>
                <a:srgbClr val="FC1859"/>
              </a:solidFill>
              <a:ln w="1019" cap="flat">
                <a:noFill/>
                <a:prstDash val="solid"/>
                <a:miter/>
              </a:ln>
            </p:spPr>
            <p:txBody>
              <a:bodyPr rtlCol="0" anchor="ctr"/>
              <a:lstStyle/>
              <a:p>
                <a:endParaRPr lang="en-US"/>
              </a:p>
            </p:txBody>
          </p:sp>
          <p:sp>
            <p:nvSpPr>
              <p:cNvPr id="140" name="Freeform 139">
                <a:extLst>
                  <a:ext uri="{FF2B5EF4-FFF2-40B4-BE49-F238E27FC236}">
                    <a16:creationId xmlns:a16="http://schemas.microsoft.com/office/drawing/2014/main" id="{AC711B17-9136-C04D-8AC6-92781ACC01A4}"/>
                  </a:ext>
                </a:extLst>
              </p:cNvPr>
              <p:cNvSpPr/>
              <p:nvPr/>
            </p:nvSpPr>
            <p:spPr>
              <a:xfrm>
                <a:off x="8071400" y="2131700"/>
                <a:ext cx="651715" cy="651237"/>
              </a:xfrm>
              <a:custGeom>
                <a:avLst/>
                <a:gdLst>
                  <a:gd name="connsiteX0" fmla="*/ 275769 w 352593"/>
                  <a:gd name="connsiteY0" fmla="*/ 198497 h 352334"/>
                  <a:gd name="connsiteX1" fmla="*/ 216798 w 352593"/>
                  <a:gd name="connsiteY1" fmla="*/ 198497 h 352334"/>
                  <a:gd name="connsiteX2" fmla="*/ 216798 w 352593"/>
                  <a:gd name="connsiteY2" fmla="*/ 198497 h 352334"/>
                  <a:gd name="connsiteX3" fmla="*/ 153848 w 352593"/>
                  <a:gd name="connsiteY3" fmla="*/ 135594 h 352334"/>
                  <a:gd name="connsiteX4" fmla="*/ 153848 w 352593"/>
                  <a:gd name="connsiteY4" fmla="*/ 135594 h 352334"/>
                  <a:gd name="connsiteX5" fmla="*/ 153848 w 352593"/>
                  <a:gd name="connsiteY5" fmla="*/ 135288 h 352334"/>
                  <a:gd name="connsiteX6" fmla="*/ 153848 w 352593"/>
                  <a:gd name="connsiteY6" fmla="*/ 135288 h 352334"/>
                  <a:gd name="connsiteX7" fmla="*/ 153848 w 352593"/>
                  <a:gd name="connsiteY7" fmla="*/ 135288 h 352334"/>
                  <a:gd name="connsiteX8" fmla="*/ 153848 w 352593"/>
                  <a:gd name="connsiteY8" fmla="*/ 76769 h 352334"/>
                  <a:gd name="connsiteX9" fmla="*/ 153848 w 352593"/>
                  <a:gd name="connsiteY9" fmla="*/ 35581 h 352334"/>
                  <a:gd name="connsiteX10" fmla="*/ 118242 w 352593"/>
                  <a:gd name="connsiteY10" fmla="*/ 0 h 352334"/>
                  <a:gd name="connsiteX11" fmla="*/ 35703 w 352593"/>
                  <a:gd name="connsiteY11" fmla="*/ 0 h 352334"/>
                  <a:gd name="connsiteX12" fmla="*/ 10503 w 352593"/>
                  <a:gd name="connsiteY12" fmla="*/ 60762 h 352334"/>
                  <a:gd name="connsiteX13" fmla="*/ 42029 w 352593"/>
                  <a:gd name="connsiteY13" fmla="*/ 92265 h 352334"/>
                  <a:gd name="connsiteX14" fmla="*/ 84880 w 352593"/>
                  <a:gd name="connsiteY14" fmla="*/ 135084 h 352334"/>
                  <a:gd name="connsiteX15" fmla="*/ 85594 w 352593"/>
                  <a:gd name="connsiteY15" fmla="*/ 135798 h 352334"/>
                  <a:gd name="connsiteX16" fmla="*/ 93042 w 352593"/>
                  <a:gd name="connsiteY16" fmla="*/ 143240 h 352334"/>
                  <a:gd name="connsiteX17" fmla="*/ 209350 w 352593"/>
                  <a:gd name="connsiteY17" fmla="*/ 259463 h 352334"/>
                  <a:gd name="connsiteX18" fmla="*/ 219247 w 352593"/>
                  <a:gd name="connsiteY18" fmla="*/ 269353 h 352334"/>
                  <a:gd name="connsiteX19" fmla="*/ 222409 w 352593"/>
                  <a:gd name="connsiteY19" fmla="*/ 272513 h 352334"/>
                  <a:gd name="connsiteX20" fmla="*/ 265260 w 352593"/>
                  <a:gd name="connsiteY20" fmla="*/ 315332 h 352334"/>
                  <a:gd name="connsiteX21" fmla="*/ 291787 w 352593"/>
                  <a:gd name="connsiteY21" fmla="*/ 341839 h 352334"/>
                  <a:gd name="connsiteX22" fmla="*/ 352594 w 352593"/>
                  <a:gd name="connsiteY22" fmla="*/ 316657 h 352334"/>
                  <a:gd name="connsiteX23" fmla="*/ 352594 w 352593"/>
                  <a:gd name="connsiteY23" fmla="*/ 234180 h 352334"/>
                  <a:gd name="connsiteX24" fmla="*/ 316987 w 352593"/>
                  <a:gd name="connsiteY24" fmla="*/ 198599 h 352334"/>
                  <a:gd name="connsiteX25" fmla="*/ 275769 w 352593"/>
                  <a:gd name="connsiteY25" fmla="*/ 198599 h 352334"/>
                  <a:gd name="connsiteX26" fmla="*/ 275769 w 352593"/>
                  <a:gd name="connsiteY26" fmla="*/ 198497 h 352334"/>
                  <a:gd name="connsiteX27" fmla="*/ 275769 w 352593"/>
                  <a:gd name="connsiteY27" fmla="*/ 198497 h 352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52593" h="352334">
                    <a:moveTo>
                      <a:pt x="275769" y="198497"/>
                    </a:moveTo>
                    <a:lnTo>
                      <a:pt x="216798" y="198497"/>
                    </a:lnTo>
                    <a:lnTo>
                      <a:pt x="216798" y="198497"/>
                    </a:lnTo>
                    <a:cubicBezTo>
                      <a:pt x="182109" y="198293"/>
                      <a:pt x="154052" y="170257"/>
                      <a:pt x="153848" y="135594"/>
                    </a:cubicBezTo>
                    <a:lnTo>
                      <a:pt x="153848" y="135594"/>
                    </a:lnTo>
                    <a:lnTo>
                      <a:pt x="153848" y="135288"/>
                    </a:lnTo>
                    <a:lnTo>
                      <a:pt x="153848" y="135288"/>
                    </a:lnTo>
                    <a:lnTo>
                      <a:pt x="153848" y="135288"/>
                    </a:lnTo>
                    <a:lnTo>
                      <a:pt x="153848" y="76769"/>
                    </a:lnTo>
                    <a:lnTo>
                      <a:pt x="153848" y="35581"/>
                    </a:lnTo>
                    <a:cubicBezTo>
                      <a:pt x="153848" y="15904"/>
                      <a:pt x="137933" y="0"/>
                      <a:pt x="118242" y="0"/>
                    </a:cubicBezTo>
                    <a:lnTo>
                      <a:pt x="35703" y="0"/>
                    </a:lnTo>
                    <a:cubicBezTo>
                      <a:pt x="3973" y="0"/>
                      <a:pt x="-11943" y="38333"/>
                      <a:pt x="10503" y="60762"/>
                    </a:cubicBezTo>
                    <a:lnTo>
                      <a:pt x="42029" y="92265"/>
                    </a:lnTo>
                    <a:lnTo>
                      <a:pt x="84880" y="135084"/>
                    </a:lnTo>
                    <a:lnTo>
                      <a:pt x="85594" y="135798"/>
                    </a:lnTo>
                    <a:lnTo>
                      <a:pt x="93042" y="143240"/>
                    </a:lnTo>
                    <a:lnTo>
                      <a:pt x="209350" y="259463"/>
                    </a:lnTo>
                    <a:lnTo>
                      <a:pt x="219247" y="269353"/>
                    </a:lnTo>
                    <a:lnTo>
                      <a:pt x="222409" y="272513"/>
                    </a:lnTo>
                    <a:lnTo>
                      <a:pt x="265260" y="315332"/>
                    </a:lnTo>
                    <a:lnTo>
                      <a:pt x="291787" y="341839"/>
                    </a:lnTo>
                    <a:cubicBezTo>
                      <a:pt x="314232" y="364268"/>
                      <a:pt x="352594" y="348364"/>
                      <a:pt x="352594" y="316657"/>
                    </a:cubicBezTo>
                    <a:lnTo>
                      <a:pt x="352594" y="234180"/>
                    </a:lnTo>
                    <a:cubicBezTo>
                      <a:pt x="352594" y="214503"/>
                      <a:pt x="336678" y="198599"/>
                      <a:pt x="316987" y="198599"/>
                    </a:cubicBezTo>
                    <a:lnTo>
                      <a:pt x="275769" y="198599"/>
                    </a:lnTo>
                    <a:lnTo>
                      <a:pt x="275769" y="198497"/>
                    </a:lnTo>
                    <a:lnTo>
                      <a:pt x="275769" y="198497"/>
                    </a:lnTo>
                    <a:close/>
                  </a:path>
                </a:pathLst>
              </a:custGeom>
              <a:solidFill>
                <a:srgbClr val="995DFF"/>
              </a:solidFill>
              <a:ln w="1019" cap="flat">
                <a:noFill/>
                <a:prstDash val="solid"/>
                <a:miter/>
              </a:ln>
            </p:spPr>
            <p:txBody>
              <a:bodyPr rtlCol="0" anchor="ctr"/>
              <a:lstStyle/>
              <a:p>
                <a:endParaRPr lang="en-US"/>
              </a:p>
            </p:txBody>
          </p:sp>
          <p:sp>
            <p:nvSpPr>
              <p:cNvPr id="141" name="Freeform 140">
                <a:extLst>
                  <a:ext uri="{FF2B5EF4-FFF2-40B4-BE49-F238E27FC236}">
                    <a16:creationId xmlns:a16="http://schemas.microsoft.com/office/drawing/2014/main" id="{EECCEB1B-BB38-A343-BBE6-CEA6862E01FB}"/>
                  </a:ext>
                </a:extLst>
              </p:cNvPr>
              <p:cNvSpPr/>
              <p:nvPr/>
            </p:nvSpPr>
            <p:spPr>
              <a:xfrm>
                <a:off x="8785159" y="2737722"/>
                <a:ext cx="95231" cy="45037"/>
              </a:xfrm>
              <a:custGeom>
                <a:avLst/>
                <a:gdLst>
                  <a:gd name="connsiteX0" fmla="*/ 19589 w 51522"/>
                  <a:gd name="connsiteY0" fmla="*/ 3874 h 24366"/>
                  <a:gd name="connsiteX1" fmla="*/ 12141 w 51522"/>
                  <a:gd name="connsiteY1" fmla="*/ 3874 h 24366"/>
                  <a:gd name="connsiteX2" fmla="*/ 12141 w 51522"/>
                  <a:gd name="connsiteY2" fmla="*/ 24366 h 24366"/>
                  <a:gd name="connsiteX3" fmla="*/ 7448 w 51522"/>
                  <a:gd name="connsiteY3" fmla="*/ 24366 h 24366"/>
                  <a:gd name="connsiteX4" fmla="*/ 7448 w 51522"/>
                  <a:gd name="connsiteY4" fmla="*/ 3874 h 24366"/>
                  <a:gd name="connsiteX5" fmla="*/ 0 w 51522"/>
                  <a:gd name="connsiteY5" fmla="*/ 3874 h 24366"/>
                  <a:gd name="connsiteX6" fmla="*/ 0 w 51522"/>
                  <a:gd name="connsiteY6" fmla="*/ 0 h 24366"/>
                  <a:gd name="connsiteX7" fmla="*/ 19589 w 51522"/>
                  <a:gd name="connsiteY7" fmla="*/ 0 h 24366"/>
                  <a:gd name="connsiteX8" fmla="*/ 19589 w 51522"/>
                  <a:gd name="connsiteY8" fmla="*/ 3874 h 24366"/>
                  <a:gd name="connsiteX9" fmla="*/ 19589 w 51522"/>
                  <a:gd name="connsiteY9" fmla="*/ 3874 h 24366"/>
                  <a:gd name="connsiteX10" fmla="*/ 38055 w 51522"/>
                  <a:gd name="connsiteY10" fmla="*/ 17230 h 24366"/>
                  <a:gd name="connsiteX11" fmla="*/ 44687 w 51522"/>
                  <a:gd name="connsiteY11" fmla="*/ 0 h 24366"/>
                  <a:gd name="connsiteX12" fmla="*/ 51523 w 51522"/>
                  <a:gd name="connsiteY12" fmla="*/ 0 h 24366"/>
                  <a:gd name="connsiteX13" fmla="*/ 51523 w 51522"/>
                  <a:gd name="connsiteY13" fmla="*/ 24264 h 24366"/>
                  <a:gd name="connsiteX14" fmla="*/ 47136 w 51522"/>
                  <a:gd name="connsiteY14" fmla="*/ 24264 h 24366"/>
                  <a:gd name="connsiteX15" fmla="*/ 47136 w 51522"/>
                  <a:gd name="connsiteY15" fmla="*/ 5301 h 24366"/>
                  <a:gd name="connsiteX16" fmla="*/ 47034 w 51522"/>
                  <a:gd name="connsiteY16" fmla="*/ 5301 h 24366"/>
                  <a:gd name="connsiteX17" fmla="*/ 39790 w 51522"/>
                  <a:gd name="connsiteY17" fmla="*/ 24264 h 24366"/>
                  <a:gd name="connsiteX18" fmla="*/ 36525 w 51522"/>
                  <a:gd name="connsiteY18" fmla="*/ 24264 h 24366"/>
                  <a:gd name="connsiteX19" fmla="*/ 29281 w 51522"/>
                  <a:gd name="connsiteY19" fmla="*/ 5301 h 24366"/>
                  <a:gd name="connsiteX20" fmla="*/ 29179 w 51522"/>
                  <a:gd name="connsiteY20" fmla="*/ 5301 h 24366"/>
                  <a:gd name="connsiteX21" fmla="*/ 29179 w 51522"/>
                  <a:gd name="connsiteY21" fmla="*/ 24264 h 24366"/>
                  <a:gd name="connsiteX22" fmla="*/ 24792 w 51522"/>
                  <a:gd name="connsiteY22" fmla="*/ 24264 h 24366"/>
                  <a:gd name="connsiteX23" fmla="*/ 24792 w 51522"/>
                  <a:gd name="connsiteY23" fmla="*/ 0 h 24366"/>
                  <a:gd name="connsiteX24" fmla="*/ 31628 w 51522"/>
                  <a:gd name="connsiteY24" fmla="*/ 0 h 24366"/>
                  <a:gd name="connsiteX25" fmla="*/ 38055 w 51522"/>
                  <a:gd name="connsiteY25" fmla="*/ 17230 h 2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1522" h="24366">
                    <a:moveTo>
                      <a:pt x="19589" y="3874"/>
                    </a:moveTo>
                    <a:lnTo>
                      <a:pt x="12141" y="3874"/>
                    </a:lnTo>
                    <a:lnTo>
                      <a:pt x="12141" y="24366"/>
                    </a:lnTo>
                    <a:lnTo>
                      <a:pt x="7448" y="24366"/>
                    </a:lnTo>
                    <a:lnTo>
                      <a:pt x="7448" y="3874"/>
                    </a:lnTo>
                    <a:lnTo>
                      <a:pt x="0" y="3874"/>
                    </a:lnTo>
                    <a:lnTo>
                      <a:pt x="0" y="0"/>
                    </a:lnTo>
                    <a:lnTo>
                      <a:pt x="19589" y="0"/>
                    </a:lnTo>
                    <a:lnTo>
                      <a:pt x="19589" y="3874"/>
                    </a:lnTo>
                    <a:lnTo>
                      <a:pt x="19589" y="3874"/>
                    </a:lnTo>
                    <a:close/>
                    <a:moveTo>
                      <a:pt x="38055" y="17230"/>
                    </a:moveTo>
                    <a:lnTo>
                      <a:pt x="44687" y="0"/>
                    </a:lnTo>
                    <a:lnTo>
                      <a:pt x="51523" y="0"/>
                    </a:lnTo>
                    <a:lnTo>
                      <a:pt x="51523" y="24264"/>
                    </a:lnTo>
                    <a:lnTo>
                      <a:pt x="47136" y="24264"/>
                    </a:lnTo>
                    <a:lnTo>
                      <a:pt x="47136" y="5301"/>
                    </a:lnTo>
                    <a:lnTo>
                      <a:pt x="47034" y="5301"/>
                    </a:lnTo>
                    <a:lnTo>
                      <a:pt x="39790" y="24264"/>
                    </a:lnTo>
                    <a:lnTo>
                      <a:pt x="36525" y="24264"/>
                    </a:lnTo>
                    <a:lnTo>
                      <a:pt x="29281" y="5301"/>
                    </a:lnTo>
                    <a:lnTo>
                      <a:pt x="29179" y="5301"/>
                    </a:lnTo>
                    <a:lnTo>
                      <a:pt x="29179" y="24264"/>
                    </a:lnTo>
                    <a:lnTo>
                      <a:pt x="24792" y="24264"/>
                    </a:lnTo>
                    <a:lnTo>
                      <a:pt x="24792" y="0"/>
                    </a:lnTo>
                    <a:lnTo>
                      <a:pt x="31628" y="0"/>
                    </a:lnTo>
                    <a:lnTo>
                      <a:pt x="38055" y="17230"/>
                    </a:lnTo>
                    <a:close/>
                  </a:path>
                </a:pathLst>
              </a:custGeom>
              <a:solidFill>
                <a:srgbClr val="995DFF"/>
              </a:solidFill>
              <a:ln w="1019"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204286858"/>
      </p:ext>
    </p:extLst>
  </p:cSld>
  <p:clrMapOvr>
    <a:masterClrMapping/>
  </p:clrMapOvr>
  <p:transition>
    <p:fade/>
  </p:transition>
  <p:hf hdr="0"/>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Closing Slide Logo Mark Black">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DD71458-FF82-1447-83D1-2C05DCE224C0}"/>
              </a:ext>
            </a:extLst>
          </p:cNvPr>
          <p:cNvSpPr/>
          <p:nvPr userDrawn="1"/>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 name="Group 3">
            <a:extLst>
              <a:ext uri="{FF2B5EF4-FFF2-40B4-BE49-F238E27FC236}">
                <a16:creationId xmlns:a16="http://schemas.microsoft.com/office/drawing/2014/main" id="{26FF53D5-6A16-2044-8161-DB024E5745FD}"/>
              </a:ext>
            </a:extLst>
          </p:cNvPr>
          <p:cNvGrpSpPr/>
          <p:nvPr userDrawn="1"/>
        </p:nvGrpSpPr>
        <p:grpSpPr>
          <a:xfrm>
            <a:off x="5162172" y="2898388"/>
            <a:ext cx="1987230" cy="1062810"/>
            <a:chOff x="11650478" y="266930"/>
            <a:chExt cx="312036" cy="166883"/>
          </a:xfrm>
        </p:grpSpPr>
        <p:sp>
          <p:nvSpPr>
            <p:cNvPr id="5" name="Freeform 4">
              <a:extLst>
                <a:ext uri="{FF2B5EF4-FFF2-40B4-BE49-F238E27FC236}">
                  <a16:creationId xmlns:a16="http://schemas.microsoft.com/office/drawing/2014/main" id="{C83A79F5-8FDD-D848-8A36-515A757DD42E}"/>
                </a:ext>
              </a:extLst>
            </p:cNvPr>
            <p:cNvSpPr/>
            <p:nvPr/>
          </p:nvSpPr>
          <p:spPr>
            <a:xfrm>
              <a:off x="11849373" y="266930"/>
              <a:ext cx="72849" cy="72796"/>
            </a:xfrm>
            <a:custGeom>
              <a:avLst/>
              <a:gdLst>
                <a:gd name="connsiteX0" fmla="*/ 130474 w 562227"/>
                <a:gd name="connsiteY0" fmla="*/ 0 h 561814"/>
                <a:gd name="connsiteX1" fmla="*/ 432106 w 562227"/>
                <a:gd name="connsiteY1" fmla="*/ 0 h 561814"/>
                <a:gd name="connsiteX2" fmla="*/ 562228 w 562227"/>
                <a:gd name="connsiteY2" fmla="*/ 130027 h 561814"/>
                <a:gd name="connsiteX3" fmla="*/ 562228 w 562227"/>
                <a:gd name="connsiteY3" fmla="*/ 431436 h 561814"/>
                <a:gd name="connsiteX4" fmla="*/ 340013 w 562227"/>
                <a:gd name="connsiteY4" fmla="*/ 523461 h 561814"/>
                <a:gd name="connsiteX5" fmla="*/ 38382 w 562227"/>
                <a:gd name="connsiteY5" fmla="*/ 222052 h 561814"/>
                <a:gd name="connsiteX6" fmla="*/ 130474 w 562227"/>
                <a:gd name="connsiteY6" fmla="*/ 0 h 561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2227" h="561814">
                  <a:moveTo>
                    <a:pt x="130474" y="0"/>
                  </a:moveTo>
                  <a:lnTo>
                    <a:pt x="432106" y="0"/>
                  </a:lnTo>
                  <a:cubicBezTo>
                    <a:pt x="504064" y="0"/>
                    <a:pt x="562228" y="58121"/>
                    <a:pt x="562228" y="130027"/>
                  </a:cubicBezTo>
                  <a:lnTo>
                    <a:pt x="562228" y="431436"/>
                  </a:lnTo>
                  <a:cubicBezTo>
                    <a:pt x="562228" y="547305"/>
                    <a:pt x="422038" y="605426"/>
                    <a:pt x="340013" y="523461"/>
                  </a:cubicBezTo>
                  <a:lnTo>
                    <a:pt x="38382" y="222052"/>
                  </a:lnTo>
                  <a:cubicBezTo>
                    <a:pt x="-43644" y="140086"/>
                    <a:pt x="14520" y="0"/>
                    <a:pt x="130474" y="0"/>
                  </a:cubicBezTo>
                  <a:close/>
                </a:path>
              </a:pathLst>
            </a:custGeom>
            <a:solidFill>
              <a:srgbClr val="5DA7FB"/>
            </a:solidFill>
            <a:ln w="3728" cap="flat">
              <a:no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9AD72466-79D3-7742-A81D-21CA7B1537EF}"/>
                </a:ext>
              </a:extLst>
            </p:cNvPr>
            <p:cNvSpPr/>
            <p:nvPr/>
          </p:nvSpPr>
          <p:spPr>
            <a:xfrm>
              <a:off x="11650478" y="266978"/>
              <a:ext cx="166958" cy="166835"/>
            </a:xfrm>
            <a:custGeom>
              <a:avLst/>
              <a:gdLst>
                <a:gd name="connsiteX0" fmla="*/ 1007777 w 1288528"/>
                <a:gd name="connsiteY0" fmla="*/ 725394 h 1287580"/>
                <a:gd name="connsiteX1" fmla="*/ 792273 w 1288528"/>
                <a:gd name="connsiteY1" fmla="*/ 725394 h 1287580"/>
                <a:gd name="connsiteX2" fmla="*/ 792273 w 1288528"/>
                <a:gd name="connsiteY2" fmla="*/ 725394 h 1287580"/>
                <a:gd name="connsiteX3" fmla="*/ 562228 w 1288528"/>
                <a:gd name="connsiteY3" fmla="*/ 495518 h 1287580"/>
                <a:gd name="connsiteX4" fmla="*/ 562228 w 1288528"/>
                <a:gd name="connsiteY4" fmla="*/ 495518 h 1287580"/>
                <a:gd name="connsiteX5" fmla="*/ 562228 w 1288528"/>
                <a:gd name="connsiteY5" fmla="*/ 494400 h 1287580"/>
                <a:gd name="connsiteX6" fmla="*/ 562228 w 1288528"/>
                <a:gd name="connsiteY6" fmla="*/ 494400 h 1287580"/>
                <a:gd name="connsiteX7" fmla="*/ 562228 w 1288528"/>
                <a:gd name="connsiteY7" fmla="*/ 494400 h 1287580"/>
                <a:gd name="connsiteX8" fmla="*/ 562228 w 1288528"/>
                <a:gd name="connsiteY8" fmla="*/ 280545 h 1287580"/>
                <a:gd name="connsiteX9" fmla="*/ 562228 w 1288528"/>
                <a:gd name="connsiteY9" fmla="*/ 130027 h 1287580"/>
                <a:gd name="connsiteX10" fmla="*/ 432105 w 1288528"/>
                <a:gd name="connsiteY10" fmla="*/ 0 h 1287580"/>
                <a:gd name="connsiteX11" fmla="*/ 130475 w 1288528"/>
                <a:gd name="connsiteY11" fmla="*/ 0 h 1287580"/>
                <a:gd name="connsiteX12" fmla="*/ 38382 w 1288528"/>
                <a:gd name="connsiteY12" fmla="*/ 222052 h 1287580"/>
                <a:gd name="connsiteX13" fmla="*/ 153591 w 1288528"/>
                <a:gd name="connsiteY13" fmla="*/ 337176 h 1287580"/>
                <a:gd name="connsiteX14" fmla="*/ 310185 w 1288528"/>
                <a:gd name="connsiteY14" fmla="*/ 493655 h 1287580"/>
                <a:gd name="connsiteX15" fmla="*/ 312795 w 1288528"/>
                <a:gd name="connsiteY15" fmla="*/ 496263 h 1287580"/>
                <a:gd name="connsiteX16" fmla="*/ 340013 w 1288528"/>
                <a:gd name="connsiteY16" fmla="*/ 523461 h 1287580"/>
                <a:gd name="connsiteX17" fmla="*/ 765055 w 1288528"/>
                <a:gd name="connsiteY17" fmla="*/ 948190 h 1287580"/>
                <a:gd name="connsiteX18" fmla="*/ 801221 w 1288528"/>
                <a:gd name="connsiteY18" fmla="*/ 984330 h 1287580"/>
                <a:gd name="connsiteX19" fmla="*/ 812779 w 1288528"/>
                <a:gd name="connsiteY19" fmla="*/ 995879 h 1287580"/>
                <a:gd name="connsiteX20" fmla="*/ 969374 w 1288528"/>
                <a:gd name="connsiteY20" fmla="*/ 1152359 h 1287580"/>
                <a:gd name="connsiteX21" fmla="*/ 1066313 w 1288528"/>
                <a:gd name="connsiteY21" fmla="*/ 1249227 h 1287580"/>
                <a:gd name="connsiteX22" fmla="*/ 1288529 w 1288528"/>
                <a:gd name="connsiteY22" fmla="*/ 1157202 h 1287580"/>
                <a:gd name="connsiteX23" fmla="*/ 1288529 w 1288528"/>
                <a:gd name="connsiteY23" fmla="*/ 855793 h 1287580"/>
                <a:gd name="connsiteX24" fmla="*/ 1158405 w 1288528"/>
                <a:gd name="connsiteY24" fmla="*/ 725766 h 1287580"/>
                <a:gd name="connsiteX25" fmla="*/ 1007777 w 1288528"/>
                <a:gd name="connsiteY25" fmla="*/ 725766 h 1287580"/>
                <a:gd name="connsiteX26" fmla="*/ 1007777 w 1288528"/>
                <a:gd name="connsiteY26" fmla="*/ 725394 h 1287580"/>
                <a:gd name="connsiteX27" fmla="*/ 1007777 w 1288528"/>
                <a:gd name="connsiteY27" fmla="*/ 725394 h 1287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88528" h="1287580">
                  <a:moveTo>
                    <a:pt x="1007777" y="725394"/>
                  </a:moveTo>
                  <a:lnTo>
                    <a:pt x="792273" y="725394"/>
                  </a:lnTo>
                  <a:lnTo>
                    <a:pt x="792273" y="725394"/>
                  </a:lnTo>
                  <a:cubicBezTo>
                    <a:pt x="665506" y="724648"/>
                    <a:pt x="562974" y="622192"/>
                    <a:pt x="562228" y="495518"/>
                  </a:cubicBezTo>
                  <a:lnTo>
                    <a:pt x="562228" y="495518"/>
                  </a:lnTo>
                  <a:lnTo>
                    <a:pt x="562228" y="494400"/>
                  </a:lnTo>
                  <a:lnTo>
                    <a:pt x="562228" y="494400"/>
                  </a:lnTo>
                  <a:lnTo>
                    <a:pt x="562228" y="494400"/>
                  </a:lnTo>
                  <a:lnTo>
                    <a:pt x="562228" y="280545"/>
                  </a:lnTo>
                  <a:lnTo>
                    <a:pt x="562228" y="130027"/>
                  </a:lnTo>
                  <a:cubicBezTo>
                    <a:pt x="562228" y="58121"/>
                    <a:pt x="504064" y="0"/>
                    <a:pt x="432105" y="0"/>
                  </a:cubicBezTo>
                  <a:lnTo>
                    <a:pt x="130475" y="0"/>
                  </a:lnTo>
                  <a:cubicBezTo>
                    <a:pt x="14520" y="0"/>
                    <a:pt x="-43643" y="140086"/>
                    <a:pt x="38382" y="222052"/>
                  </a:cubicBezTo>
                  <a:lnTo>
                    <a:pt x="153591" y="337176"/>
                  </a:lnTo>
                  <a:lnTo>
                    <a:pt x="310185" y="493655"/>
                  </a:lnTo>
                  <a:lnTo>
                    <a:pt x="312795" y="496263"/>
                  </a:lnTo>
                  <a:lnTo>
                    <a:pt x="340013" y="523461"/>
                  </a:lnTo>
                  <a:lnTo>
                    <a:pt x="765055" y="948190"/>
                  </a:lnTo>
                  <a:lnTo>
                    <a:pt x="801221" y="984330"/>
                  </a:lnTo>
                  <a:lnTo>
                    <a:pt x="812779" y="995879"/>
                  </a:lnTo>
                  <a:lnTo>
                    <a:pt x="969374" y="1152359"/>
                  </a:lnTo>
                  <a:lnTo>
                    <a:pt x="1066313" y="1249227"/>
                  </a:lnTo>
                  <a:cubicBezTo>
                    <a:pt x="1148339" y="1331192"/>
                    <a:pt x="1288529" y="1273071"/>
                    <a:pt x="1288529" y="1157202"/>
                  </a:cubicBezTo>
                  <a:lnTo>
                    <a:pt x="1288529" y="855793"/>
                  </a:lnTo>
                  <a:cubicBezTo>
                    <a:pt x="1288529" y="783887"/>
                    <a:pt x="1230365" y="725766"/>
                    <a:pt x="1158405" y="725766"/>
                  </a:cubicBezTo>
                  <a:lnTo>
                    <a:pt x="1007777" y="725766"/>
                  </a:lnTo>
                  <a:lnTo>
                    <a:pt x="1007777" y="725394"/>
                  </a:lnTo>
                  <a:lnTo>
                    <a:pt x="1007777" y="725394"/>
                  </a:lnTo>
                  <a:close/>
                </a:path>
              </a:pathLst>
            </a:custGeom>
            <a:solidFill>
              <a:srgbClr val="FC1859"/>
            </a:solidFill>
            <a:ln w="3728"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855F36BA-B53A-A740-ABBE-15E51AF9BD64}"/>
                </a:ext>
              </a:extLst>
            </p:cNvPr>
            <p:cNvSpPr/>
            <p:nvPr/>
          </p:nvSpPr>
          <p:spPr>
            <a:xfrm>
              <a:off x="11755264" y="266978"/>
              <a:ext cx="166958" cy="166835"/>
            </a:xfrm>
            <a:custGeom>
              <a:avLst/>
              <a:gdLst>
                <a:gd name="connsiteX0" fmla="*/ 1007777 w 1288528"/>
                <a:gd name="connsiteY0" fmla="*/ 725394 h 1287580"/>
                <a:gd name="connsiteX1" fmla="*/ 792273 w 1288528"/>
                <a:gd name="connsiteY1" fmla="*/ 725394 h 1287580"/>
                <a:gd name="connsiteX2" fmla="*/ 792273 w 1288528"/>
                <a:gd name="connsiteY2" fmla="*/ 725394 h 1287580"/>
                <a:gd name="connsiteX3" fmla="*/ 562228 w 1288528"/>
                <a:gd name="connsiteY3" fmla="*/ 495518 h 1287580"/>
                <a:gd name="connsiteX4" fmla="*/ 562228 w 1288528"/>
                <a:gd name="connsiteY4" fmla="*/ 495518 h 1287580"/>
                <a:gd name="connsiteX5" fmla="*/ 562228 w 1288528"/>
                <a:gd name="connsiteY5" fmla="*/ 494400 h 1287580"/>
                <a:gd name="connsiteX6" fmla="*/ 562228 w 1288528"/>
                <a:gd name="connsiteY6" fmla="*/ 494400 h 1287580"/>
                <a:gd name="connsiteX7" fmla="*/ 562228 w 1288528"/>
                <a:gd name="connsiteY7" fmla="*/ 494400 h 1287580"/>
                <a:gd name="connsiteX8" fmla="*/ 562228 w 1288528"/>
                <a:gd name="connsiteY8" fmla="*/ 280545 h 1287580"/>
                <a:gd name="connsiteX9" fmla="*/ 562228 w 1288528"/>
                <a:gd name="connsiteY9" fmla="*/ 130027 h 1287580"/>
                <a:gd name="connsiteX10" fmla="*/ 432106 w 1288528"/>
                <a:gd name="connsiteY10" fmla="*/ 0 h 1287580"/>
                <a:gd name="connsiteX11" fmla="*/ 130474 w 1288528"/>
                <a:gd name="connsiteY11" fmla="*/ 0 h 1287580"/>
                <a:gd name="connsiteX12" fmla="*/ 38382 w 1288528"/>
                <a:gd name="connsiteY12" fmla="*/ 222052 h 1287580"/>
                <a:gd name="connsiteX13" fmla="*/ 153591 w 1288528"/>
                <a:gd name="connsiteY13" fmla="*/ 337176 h 1287580"/>
                <a:gd name="connsiteX14" fmla="*/ 310186 w 1288528"/>
                <a:gd name="connsiteY14" fmla="*/ 493655 h 1287580"/>
                <a:gd name="connsiteX15" fmla="*/ 312796 w 1288528"/>
                <a:gd name="connsiteY15" fmla="*/ 496263 h 1287580"/>
                <a:gd name="connsiteX16" fmla="*/ 340013 w 1288528"/>
                <a:gd name="connsiteY16" fmla="*/ 523461 h 1287580"/>
                <a:gd name="connsiteX17" fmla="*/ 765056 w 1288528"/>
                <a:gd name="connsiteY17" fmla="*/ 948190 h 1287580"/>
                <a:gd name="connsiteX18" fmla="*/ 801221 w 1288528"/>
                <a:gd name="connsiteY18" fmla="*/ 984330 h 1287580"/>
                <a:gd name="connsiteX19" fmla="*/ 812779 w 1288528"/>
                <a:gd name="connsiteY19" fmla="*/ 995879 h 1287580"/>
                <a:gd name="connsiteX20" fmla="*/ 969373 w 1288528"/>
                <a:gd name="connsiteY20" fmla="*/ 1152359 h 1287580"/>
                <a:gd name="connsiteX21" fmla="*/ 1066313 w 1288528"/>
                <a:gd name="connsiteY21" fmla="*/ 1249227 h 1287580"/>
                <a:gd name="connsiteX22" fmla="*/ 1288528 w 1288528"/>
                <a:gd name="connsiteY22" fmla="*/ 1157202 h 1287580"/>
                <a:gd name="connsiteX23" fmla="*/ 1288528 w 1288528"/>
                <a:gd name="connsiteY23" fmla="*/ 855793 h 1287580"/>
                <a:gd name="connsiteX24" fmla="*/ 1158406 w 1288528"/>
                <a:gd name="connsiteY24" fmla="*/ 725766 h 1287580"/>
                <a:gd name="connsiteX25" fmla="*/ 1007777 w 1288528"/>
                <a:gd name="connsiteY25" fmla="*/ 725766 h 1287580"/>
                <a:gd name="connsiteX26" fmla="*/ 1007777 w 1288528"/>
                <a:gd name="connsiteY26" fmla="*/ 725394 h 1287580"/>
                <a:gd name="connsiteX27" fmla="*/ 1007777 w 1288528"/>
                <a:gd name="connsiteY27" fmla="*/ 725394 h 1287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88528" h="1287580">
                  <a:moveTo>
                    <a:pt x="1007777" y="725394"/>
                  </a:moveTo>
                  <a:lnTo>
                    <a:pt x="792273" y="725394"/>
                  </a:lnTo>
                  <a:lnTo>
                    <a:pt x="792273" y="725394"/>
                  </a:lnTo>
                  <a:cubicBezTo>
                    <a:pt x="665506" y="724648"/>
                    <a:pt x="562973" y="622192"/>
                    <a:pt x="562228" y="495518"/>
                  </a:cubicBezTo>
                  <a:lnTo>
                    <a:pt x="562228" y="495518"/>
                  </a:lnTo>
                  <a:lnTo>
                    <a:pt x="562228" y="494400"/>
                  </a:lnTo>
                  <a:lnTo>
                    <a:pt x="562228" y="494400"/>
                  </a:lnTo>
                  <a:lnTo>
                    <a:pt x="562228" y="494400"/>
                  </a:lnTo>
                  <a:lnTo>
                    <a:pt x="562228" y="280545"/>
                  </a:lnTo>
                  <a:lnTo>
                    <a:pt x="562228" y="130027"/>
                  </a:lnTo>
                  <a:cubicBezTo>
                    <a:pt x="562228" y="58121"/>
                    <a:pt x="504065" y="0"/>
                    <a:pt x="432106" y="0"/>
                  </a:cubicBezTo>
                  <a:lnTo>
                    <a:pt x="130474" y="0"/>
                  </a:lnTo>
                  <a:cubicBezTo>
                    <a:pt x="14520" y="0"/>
                    <a:pt x="-43644" y="140086"/>
                    <a:pt x="38382" y="222052"/>
                  </a:cubicBezTo>
                  <a:lnTo>
                    <a:pt x="153591" y="337176"/>
                  </a:lnTo>
                  <a:lnTo>
                    <a:pt x="310186" y="493655"/>
                  </a:lnTo>
                  <a:lnTo>
                    <a:pt x="312796" y="496263"/>
                  </a:lnTo>
                  <a:lnTo>
                    <a:pt x="340013" y="523461"/>
                  </a:lnTo>
                  <a:lnTo>
                    <a:pt x="765056" y="948190"/>
                  </a:lnTo>
                  <a:lnTo>
                    <a:pt x="801221" y="984330"/>
                  </a:lnTo>
                  <a:lnTo>
                    <a:pt x="812779" y="995879"/>
                  </a:lnTo>
                  <a:lnTo>
                    <a:pt x="969373" y="1152359"/>
                  </a:lnTo>
                  <a:lnTo>
                    <a:pt x="1066313" y="1249227"/>
                  </a:lnTo>
                  <a:cubicBezTo>
                    <a:pt x="1148339" y="1331192"/>
                    <a:pt x="1288528" y="1273071"/>
                    <a:pt x="1288528" y="1157202"/>
                  </a:cubicBezTo>
                  <a:lnTo>
                    <a:pt x="1288528" y="855793"/>
                  </a:lnTo>
                  <a:cubicBezTo>
                    <a:pt x="1288528" y="783887"/>
                    <a:pt x="1230364" y="725766"/>
                    <a:pt x="1158406" y="725766"/>
                  </a:cubicBezTo>
                  <a:lnTo>
                    <a:pt x="1007777" y="725766"/>
                  </a:lnTo>
                  <a:lnTo>
                    <a:pt x="1007777" y="725394"/>
                  </a:lnTo>
                  <a:lnTo>
                    <a:pt x="1007777" y="725394"/>
                  </a:lnTo>
                  <a:close/>
                </a:path>
              </a:pathLst>
            </a:custGeom>
            <a:solidFill>
              <a:srgbClr val="995DFF"/>
            </a:solidFill>
            <a:ln w="3728"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80D0D56F-AB0B-754B-B267-92CB3293BC0D}"/>
                </a:ext>
              </a:extLst>
            </p:cNvPr>
            <p:cNvSpPr/>
            <p:nvPr/>
          </p:nvSpPr>
          <p:spPr>
            <a:xfrm>
              <a:off x="11938117" y="422230"/>
              <a:ext cx="24397" cy="11538"/>
            </a:xfrm>
            <a:custGeom>
              <a:avLst/>
              <a:gdLst>
                <a:gd name="connsiteX0" fmla="*/ 71587 w 188286"/>
                <a:gd name="connsiteY0" fmla="*/ 14158 h 89044"/>
                <a:gd name="connsiteX1" fmla="*/ 44369 w 188286"/>
                <a:gd name="connsiteY1" fmla="*/ 14158 h 89044"/>
                <a:gd name="connsiteX2" fmla="*/ 44369 w 188286"/>
                <a:gd name="connsiteY2" fmla="*/ 89044 h 89044"/>
                <a:gd name="connsiteX3" fmla="*/ 27218 w 188286"/>
                <a:gd name="connsiteY3" fmla="*/ 89044 h 89044"/>
                <a:gd name="connsiteX4" fmla="*/ 27218 w 188286"/>
                <a:gd name="connsiteY4" fmla="*/ 14158 h 89044"/>
                <a:gd name="connsiteX5" fmla="*/ 0 w 188286"/>
                <a:gd name="connsiteY5" fmla="*/ 14158 h 89044"/>
                <a:gd name="connsiteX6" fmla="*/ 0 w 188286"/>
                <a:gd name="connsiteY6" fmla="*/ 0 h 89044"/>
                <a:gd name="connsiteX7" fmla="*/ 71587 w 188286"/>
                <a:gd name="connsiteY7" fmla="*/ 0 h 89044"/>
                <a:gd name="connsiteX8" fmla="*/ 71587 w 188286"/>
                <a:gd name="connsiteY8" fmla="*/ 14158 h 89044"/>
                <a:gd name="connsiteX9" fmla="*/ 71587 w 188286"/>
                <a:gd name="connsiteY9" fmla="*/ 14158 h 89044"/>
                <a:gd name="connsiteX10" fmla="*/ 139071 w 188286"/>
                <a:gd name="connsiteY10" fmla="*/ 62964 h 89044"/>
                <a:gd name="connsiteX11" fmla="*/ 163306 w 188286"/>
                <a:gd name="connsiteY11" fmla="*/ 0 h 89044"/>
                <a:gd name="connsiteX12" fmla="*/ 188286 w 188286"/>
                <a:gd name="connsiteY12" fmla="*/ 0 h 89044"/>
                <a:gd name="connsiteX13" fmla="*/ 188286 w 188286"/>
                <a:gd name="connsiteY13" fmla="*/ 88672 h 89044"/>
                <a:gd name="connsiteX14" fmla="*/ 172255 w 188286"/>
                <a:gd name="connsiteY14" fmla="*/ 88672 h 89044"/>
                <a:gd name="connsiteX15" fmla="*/ 172255 w 188286"/>
                <a:gd name="connsiteY15" fmla="*/ 19374 h 89044"/>
                <a:gd name="connsiteX16" fmla="*/ 171881 w 188286"/>
                <a:gd name="connsiteY16" fmla="*/ 19374 h 89044"/>
                <a:gd name="connsiteX17" fmla="*/ 145409 w 188286"/>
                <a:gd name="connsiteY17" fmla="*/ 88672 h 89044"/>
                <a:gd name="connsiteX18" fmla="*/ 133478 w 188286"/>
                <a:gd name="connsiteY18" fmla="*/ 88672 h 89044"/>
                <a:gd name="connsiteX19" fmla="*/ 107007 w 188286"/>
                <a:gd name="connsiteY19" fmla="*/ 19374 h 89044"/>
                <a:gd name="connsiteX20" fmla="*/ 106634 w 188286"/>
                <a:gd name="connsiteY20" fmla="*/ 19374 h 89044"/>
                <a:gd name="connsiteX21" fmla="*/ 106634 w 188286"/>
                <a:gd name="connsiteY21" fmla="*/ 88672 h 89044"/>
                <a:gd name="connsiteX22" fmla="*/ 90601 w 188286"/>
                <a:gd name="connsiteY22" fmla="*/ 88672 h 89044"/>
                <a:gd name="connsiteX23" fmla="*/ 90601 w 188286"/>
                <a:gd name="connsiteY23" fmla="*/ 0 h 89044"/>
                <a:gd name="connsiteX24" fmla="*/ 115582 w 188286"/>
                <a:gd name="connsiteY24" fmla="*/ 0 h 89044"/>
                <a:gd name="connsiteX25" fmla="*/ 139071 w 188286"/>
                <a:gd name="connsiteY25" fmla="*/ 62964 h 89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8286" h="89044">
                  <a:moveTo>
                    <a:pt x="71587" y="14158"/>
                  </a:moveTo>
                  <a:lnTo>
                    <a:pt x="44369" y="14158"/>
                  </a:lnTo>
                  <a:lnTo>
                    <a:pt x="44369" y="89044"/>
                  </a:lnTo>
                  <a:lnTo>
                    <a:pt x="27218" y="89044"/>
                  </a:lnTo>
                  <a:lnTo>
                    <a:pt x="27218" y="14158"/>
                  </a:lnTo>
                  <a:lnTo>
                    <a:pt x="0" y="14158"/>
                  </a:lnTo>
                  <a:lnTo>
                    <a:pt x="0" y="0"/>
                  </a:lnTo>
                  <a:lnTo>
                    <a:pt x="71587" y="0"/>
                  </a:lnTo>
                  <a:lnTo>
                    <a:pt x="71587" y="14158"/>
                  </a:lnTo>
                  <a:lnTo>
                    <a:pt x="71587" y="14158"/>
                  </a:lnTo>
                  <a:close/>
                  <a:moveTo>
                    <a:pt x="139071" y="62964"/>
                  </a:moveTo>
                  <a:lnTo>
                    <a:pt x="163306" y="0"/>
                  </a:lnTo>
                  <a:lnTo>
                    <a:pt x="188286" y="0"/>
                  </a:lnTo>
                  <a:lnTo>
                    <a:pt x="188286" y="88672"/>
                  </a:lnTo>
                  <a:lnTo>
                    <a:pt x="172255" y="88672"/>
                  </a:lnTo>
                  <a:lnTo>
                    <a:pt x="172255" y="19374"/>
                  </a:lnTo>
                  <a:lnTo>
                    <a:pt x="171881" y="19374"/>
                  </a:lnTo>
                  <a:lnTo>
                    <a:pt x="145409" y="88672"/>
                  </a:lnTo>
                  <a:lnTo>
                    <a:pt x="133478" y="88672"/>
                  </a:lnTo>
                  <a:lnTo>
                    <a:pt x="107007" y="19374"/>
                  </a:lnTo>
                  <a:lnTo>
                    <a:pt x="106634" y="19374"/>
                  </a:lnTo>
                  <a:lnTo>
                    <a:pt x="106634" y="88672"/>
                  </a:lnTo>
                  <a:lnTo>
                    <a:pt x="90601" y="88672"/>
                  </a:lnTo>
                  <a:lnTo>
                    <a:pt x="90601" y="0"/>
                  </a:lnTo>
                  <a:lnTo>
                    <a:pt x="115582" y="0"/>
                  </a:lnTo>
                  <a:lnTo>
                    <a:pt x="139071" y="62964"/>
                  </a:lnTo>
                  <a:close/>
                </a:path>
              </a:pathLst>
            </a:custGeom>
            <a:solidFill>
              <a:schemeClr val="accent2"/>
            </a:solidFill>
            <a:ln w="3728" cap="flat">
              <a:noFill/>
              <a:prstDash val="solid"/>
              <a:miter/>
            </a:ln>
          </p:spPr>
          <p:txBody>
            <a:bodyPr rtlCol="0" anchor="ctr"/>
            <a:lstStyle/>
            <a:p>
              <a:endParaRPr lang="en-US"/>
            </a:p>
          </p:txBody>
        </p:sp>
      </p:grpSp>
    </p:spTree>
    <p:extLst>
      <p:ext uri="{BB962C8B-B14F-4D97-AF65-F5344CB8AC3E}">
        <p14:creationId xmlns:p14="http://schemas.microsoft.com/office/powerpoint/2010/main" val="1224210389"/>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Closing Slide Logo Mark Gradient">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708DB44B-8B07-C440-9C48-EF03D9D25E0A}"/>
              </a:ext>
            </a:extLst>
          </p:cNvPr>
          <p:cNvSpPr/>
          <p:nvPr userDrawn="1"/>
        </p:nvSpPr>
        <p:spPr>
          <a:xfrm>
            <a:off x="0" y="0"/>
            <a:ext cx="12192000" cy="6858000"/>
          </a:xfrm>
          <a:prstGeom prst="rect">
            <a:avLst/>
          </a:prstGeom>
          <a:gradFill flip="none" rotWithShape="1">
            <a:gsLst>
              <a:gs pos="0">
                <a:schemeClr val="accent1"/>
              </a:gs>
              <a:gs pos="50000">
                <a:schemeClr val="accent2"/>
              </a:gs>
              <a:gs pos="100000">
                <a:schemeClr val="accent3"/>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 name="Group 1">
            <a:extLst>
              <a:ext uri="{FF2B5EF4-FFF2-40B4-BE49-F238E27FC236}">
                <a16:creationId xmlns:a16="http://schemas.microsoft.com/office/drawing/2014/main" id="{0BE1434B-4F3A-3749-B5E2-435696E29ED3}"/>
              </a:ext>
            </a:extLst>
          </p:cNvPr>
          <p:cNvGrpSpPr/>
          <p:nvPr userDrawn="1"/>
        </p:nvGrpSpPr>
        <p:grpSpPr>
          <a:xfrm>
            <a:off x="5162172" y="2898388"/>
            <a:ext cx="1987230" cy="1062810"/>
            <a:chOff x="11650478" y="266930"/>
            <a:chExt cx="312036" cy="166883"/>
          </a:xfrm>
          <a:solidFill>
            <a:schemeClr val="bg1"/>
          </a:solidFill>
        </p:grpSpPr>
        <p:sp>
          <p:nvSpPr>
            <p:cNvPr id="6" name="Freeform 5">
              <a:extLst>
                <a:ext uri="{FF2B5EF4-FFF2-40B4-BE49-F238E27FC236}">
                  <a16:creationId xmlns:a16="http://schemas.microsoft.com/office/drawing/2014/main" id="{E3AE97BC-F280-6141-8055-9F6F6B1F4AF0}"/>
                </a:ext>
              </a:extLst>
            </p:cNvPr>
            <p:cNvSpPr/>
            <p:nvPr/>
          </p:nvSpPr>
          <p:spPr>
            <a:xfrm>
              <a:off x="11849373" y="266930"/>
              <a:ext cx="72849" cy="72796"/>
            </a:xfrm>
            <a:custGeom>
              <a:avLst/>
              <a:gdLst>
                <a:gd name="connsiteX0" fmla="*/ 130474 w 562227"/>
                <a:gd name="connsiteY0" fmla="*/ 0 h 561814"/>
                <a:gd name="connsiteX1" fmla="*/ 432106 w 562227"/>
                <a:gd name="connsiteY1" fmla="*/ 0 h 561814"/>
                <a:gd name="connsiteX2" fmla="*/ 562228 w 562227"/>
                <a:gd name="connsiteY2" fmla="*/ 130027 h 561814"/>
                <a:gd name="connsiteX3" fmla="*/ 562228 w 562227"/>
                <a:gd name="connsiteY3" fmla="*/ 431436 h 561814"/>
                <a:gd name="connsiteX4" fmla="*/ 340013 w 562227"/>
                <a:gd name="connsiteY4" fmla="*/ 523461 h 561814"/>
                <a:gd name="connsiteX5" fmla="*/ 38382 w 562227"/>
                <a:gd name="connsiteY5" fmla="*/ 222052 h 561814"/>
                <a:gd name="connsiteX6" fmla="*/ 130474 w 562227"/>
                <a:gd name="connsiteY6" fmla="*/ 0 h 561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2227" h="561814">
                  <a:moveTo>
                    <a:pt x="130474" y="0"/>
                  </a:moveTo>
                  <a:lnTo>
                    <a:pt x="432106" y="0"/>
                  </a:lnTo>
                  <a:cubicBezTo>
                    <a:pt x="504064" y="0"/>
                    <a:pt x="562228" y="58121"/>
                    <a:pt x="562228" y="130027"/>
                  </a:cubicBezTo>
                  <a:lnTo>
                    <a:pt x="562228" y="431436"/>
                  </a:lnTo>
                  <a:cubicBezTo>
                    <a:pt x="562228" y="547305"/>
                    <a:pt x="422038" y="605426"/>
                    <a:pt x="340013" y="523461"/>
                  </a:cubicBezTo>
                  <a:lnTo>
                    <a:pt x="38382" y="222052"/>
                  </a:lnTo>
                  <a:cubicBezTo>
                    <a:pt x="-43644" y="140086"/>
                    <a:pt x="14520" y="0"/>
                    <a:pt x="130474" y="0"/>
                  </a:cubicBezTo>
                  <a:close/>
                </a:path>
              </a:pathLst>
            </a:custGeom>
            <a:grpFill/>
            <a:ln w="3728"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ED02CE82-293A-8245-8875-3BC4A33A87DF}"/>
                </a:ext>
              </a:extLst>
            </p:cNvPr>
            <p:cNvSpPr/>
            <p:nvPr/>
          </p:nvSpPr>
          <p:spPr>
            <a:xfrm>
              <a:off x="11650478" y="266978"/>
              <a:ext cx="166958" cy="166835"/>
            </a:xfrm>
            <a:custGeom>
              <a:avLst/>
              <a:gdLst>
                <a:gd name="connsiteX0" fmla="*/ 1007777 w 1288528"/>
                <a:gd name="connsiteY0" fmla="*/ 725394 h 1287580"/>
                <a:gd name="connsiteX1" fmla="*/ 792273 w 1288528"/>
                <a:gd name="connsiteY1" fmla="*/ 725394 h 1287580"/>
                <a:gd name="connsiteX2" fmla="*/ 792273 w 1288528"/>
                <a:gd name="connsiteY2" fmla="*/ 725394 h 1287580"/>
                <a:gd name="connsiteX3" fmla="*/ 562228 w 1288528"/>
                <a:gd name="connsiteY3" fmla="*/ 495518 h 1287580"/>
                <a:gd name="connsiteX4" fmla="*/ 562228 w 1288528"/>
                <a:gd name="connsiteY4" fmla="*/ 495518 h 1287580"/>
                <a:gd name="connsiteX5" fmla="*/ 562228 w 1288528"/>
                <a:gd name="connsiteY5" fmla="*/ 494400 h 1287580"/>
                <a:gd name="connsiteX6" fmla="*/ 562228 w 1288528"/>
                <a:gd name="connsiteY6" fmla="*/ 494400 h 1287580"/>
                <a:gd name="connsiteX7" fmla="*/ 562228 w 1288528"/>
                <a:gd name="connsiteY7" fmla="*/ 494400 h 1287580"/>
                <a:gd name="connsiteX8" fmla="*/ 562228 w 1288528"/>
                <a:gd name="connsiteY8" fmla="*/ 280545 h 1287580"/>
                <a:gd name="connsiteX9" fmla="*/ 562228 w 1288528"/>
                <a:gd name="connsiteY9" fmla="*/ 130027 h 1287580"/>
                <a:gd name="connsiteX10" fmla="*/ 432105 w 1288528"/>
                <a:gd name="connsiteY10" fmla="*/ 0 h 1287580"/>
                <a:gd name="connsiteX11" fmla="*/ 130475 w 1288528"/>
                <a:gd name="connsiteY11" fmla="*/ 0 h 1287580"/>
                <a:gd name="connsiteX12" fmla="*/ 38382 w 1288528"/>
                <a:gd name="connsiteY12" fmla="*/ 222052 h 1287580"/>
                <a:gd name="connsiteX13" fmla="*/ 153591 w 1288528"/>
                <a:gd name="connsiteY13" fmla="*/ 337176 h 1287580"/>
                <a:gd name="connsiteX14" fmla="*/ 310185 w 1288528"/>
                <a:gd name="connsiteY14" fmla="*/ 493655 h 1287580"/>
                <a:gd name="connsiteX15" fmla="*/ 312795 w 1288528"/>
                <a:gd name="connsiteY15" fmla="*/ 496263 h 1287580"/>
                <a:gd name="connsiteX16" fmla="*/ 340013 w 1288528"/>
                <a:gd name="connsiteY16" fmla="*/ 523461 h 1287580"/>
                <a:gd name="connsiteX17" fmla="*/ 765055 w 1288528"/>
                <a:gd name="connsiteY17" fmla="*/ 948190 h 1287580"/>
                <a:gd name="connsiteX18" fmla="*/ 801221 w 1288528"/>
                <a:gd name="connsiteY18" fmla="*/ 984330 h 1287580"/>
                <a:gd name="connsiteX19" fmla="*/ 812779 w 1288528"/>
                <a:gd name="connsiteY19" fmla="*/ 995879 h 1287580"/>
                <a:gd name="connsiteX20" fmla="*/ 969374 w 1288528"/>
                <a:gd name="connsiteY20" fmla="*/ 1152359 h 1287580"/>
                <a:gd name="connsiteX21" fmla="*/ 1066313 w 1288528"/>
                <a:gd name="connsiteY21" fmla="*/ 1249227 h 1287580"/>
                <a:gd name="connsiteX22" fmla="*/ 1288529 w 1288528"/>
                <a:gd name="connsiteY22" fmla="*/ 1157202 h 1287580"/>
                <a:gd name="connsiteX23" fmla="*/ 1288529 w 1288528"/>
                <a:gd name="connsiteY23" fmla="*/ 855793 h 1287580"/>
                <a:gd name="connsiteX24" fmla="*/ 1158405 w 1288528"/>
                <a:gd name="connsiteY24" fmla="*/ 725766 h 1287580"/>
                <a:gd name="connsiteX25" fmla="*/ 1007777 w 1288528"/>
                <a:gd name="connsiteY25" fmla="*/ 725766 h 1287580"/>
                <a:gd name="connsiteX26" fmla="*/ 1007777 w 1288528"/>
                <a:gd name="connsiteY26" fmla="*/ 725394 h 1287580"/>
                <a:gd name="connsiteX27" fmla="*/ 1007777 w 1288528"/>
                <a:gd name="connsiteY27" fmla="*/ 725394 h 1287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88528" h="1287580">
                  <a:moveTo>
                    <a:pt x="1007777" y="725394"/>
                  </a:moveTo>
                  <a:lnTo>
                    <a:pt x="792273" y="725394"/>
                  </a:lnTo>
                  <a:lnTo>
                    <a:pt x="792273" y="725394"/>
                  </a:lnTo>
                  <a:cubicBezTo>
                    <a:pt x="665506" y="724648"/>
                    <a:pt x="562974" y="622192"/>
                    <a:pt x="562228" y="495518"/>
                  </a:cubicBezTo>
                  <a:lnTo>
                    <a:pt x="562228" y="495518"/>
                  </a:lnTo>
                  <a:lnTo>
                    <a:pt x="562228" y="494400"/>
                  </a:lnTo>
                  <a:lnTo>
                    <a:pt x="562228" y="494400"/>
                  </a:lnTo>
                  <a:lnTo>
                    <a:pt x="562228" y="494400"/>
                  </a:lnTo>
                  <a:lnTo>
                    <a:pt x="562228" y="280545"/>
                  </a:lnTo>
                  <a:lnTo>
                    <a:pt x="562228" y="130027"/>
                  </a:lnTo>
                  <a:cubicBezTo>
                    <a:pt x="562228" y="58121"/>
                    <a:pt x="504064" y="0"/>
                    <a:pt x="432105" y="0"/>
                  </a:cubicBezTo>
                  <a:lnTo>
                    <a:pt x="130475" y="0"/>
                  </a:lnTo>
                  <a:cubicBezTo>
                    <a:pt x="14520" y="0"/>
                    <a:pt x="-43643" y="140086"/>
                    <a:pt x="38382" y="222052"/>
                  </a:cubicBezTo>
                  <a:lnTo>
                    <a:pt x="153591" y="337176"/>
                  </a:lnTo>
                  <a:lnTo>
                    <a:pt x="310185" y="493655"/>
                  </a:lnTo>
                  <a:lnTo>
                    <a:pt x="312795" y="496263"/>
                  </a:lnTo>
                  <a:lnTo>
                    <a:pt x="340013" y="523461"/>
                  </a:lnTo>
                  <a:lnTo>
                    <a:pt x="765055" y="948190"/>
                  </a:lnTo>
                  <a:lnTo>
                    <a:pt x="801221" y="984330"/>
                  </a:lnTo>
                  <a:lnTo>
                    <a:pt x="812779" y="995879"/>
                  </a:lnTo>
                  <a:lnTo>
                    <a:pt x="969374" y="1152359"/>
                  </a:lnTo>
                  <a:lnTo>
                    <a:pt x="1066313" y="1249227"/>
                  </a:lnTo>
                  <a:cubicBezTo>
                    <a:pt x="1148339" y="1331192"/>
                    <a:pt x="1288529" y="1273071"/>
                    <a:pt x="1288529" y="1157202"/>
                  </a:cubicBezTo>
                  <a:lnTo>
                    <a:pt x="1288529" y="855793"/>
                  </a:lnTo>
                  <a:cubicBezTo>
                    <a:pt x="1288529" y="783887"/>
                    <a:pt x="1230365" y="725766"/>
                    <a:pt x="1158405" y="725766"/>
                  </a:cubicBezTo>
                  <a:lnTo>
                    <a:pt x="1007777" y="725766"/>
                  </a:lnTo>
                  <a:lnTo>
                    <a:pt x="1007777" y="725394"/>
                  </a:lnTo>
                  <a:lnTo>
                    <a:pt x="1007777" y="725394"/>
                  </a:lnTo>
                  <a:close/>
                </a:path>
              </a:pathLst>
            </a:custGeom>
            <a:grpFill/>
            <a:ln w="3728"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BAC7B820-B697-C244-80E7-30E108E1C3FC}"/>
                </a:ext>
              </a:extLst>
            </p:cNvPr>
            <p:cNvSpPr/>
            <p:nvPr/>
          </p:nvSpPr>
          <p:spPr>
            <a:xfrm>
              <a:off x="11755264" y="266978"/>
              <a:ext cx="166958" cy="166835"/>
            </a:xfrm>
            <a:custGeom>
              <a:avLst/>
              <a:gdLst>
                <a:gd name="connsiteX0" fmla="*/ 1007777 w 1288528"/>
                <a:gd name="connsiteY0" fmla="*/ 725394 h 1287580"/>
                <a:gd name="connsiteX1" fmla="*/ 792273 w 1288528"/>
                <a:gd name="connsiteY1" fmla="*/ 725394 h 1287580"/>
                <a:gd name="connsiteX2" fmla="*/ 792273 w 1288528"/>
                <a:gd name="connsiteY2" fmla="*/ 725394 h 1287580"/>
                <a:gd name="connsiteX3" fmla="*/ 562228 w 1288528"/>
                <a:gd name="connsiteY3" fmla="*/ 495518 h 1287580"/>
                <a:gd name="connsiteX4" fmla="*/ 562228 w 1288528"/>
                <a:gd name="connsiteY4" fmla="*/ 495518 h 1287580"/>
                <a:gd name="connsiteX5" fmla="*/ 562228 w 1288528"/>
                <a:gd name="connsiteY5" fmla="*/ 494400 h 1287580"/>
                <a:gd name="connsiteX6" fmla="*/ 562228 w 1288528"/>
                <a:gd name="connsiteY6" fmla="*/ 494400 h 1287580"/>
                <a:gd name="connsiteX7" fmla="*/ 562228 w 1288528"/>
                <a:gd name="connsiteY7" fmla="*/ 494400 h 1287580"/>
                <a:gd name="connsiteX8" fmla="*/ 562228 w 1288528"/>
                <a:gd name="connsiteY8" fmla="*/ 280545 h 1287580"/>
                <a:gd name="connsiteX9" fmla="*/ 562228 w 1288528"/>
                <a:gd name="connsiteY9" fmla="*/ 130027 h 1287580"/>
                <a:gd name="connsiteX10" fmla="*/ 432106 w 1288528"/>
                <a:gd name="connsiteY10" fmla="*/ 0 h 1287580"/>
                <a:gd name="connsiteX11" fmla="*/ 130474 w 1288528"/>
                <a:gd name="connsiteY11" fmla="*/ 0 h 1287580"/>
                <a:gd name="connsiteX12" fmla="*/ 38382 w 1288528"/>
                <a:gd name="connsiteY12" fmla="*/ 222052 h 1287580"/>
                <a:gd name="connsiteX13" fmla="*/ 153591 w 1288528"/>
                <a:gd name="connsiteY13" fmla="*/ 337176 h 1287580"/>
                <a:gd name="connsiteX14" fmla="*/ 310186 w 1288528"/>
                <a:gd name="connsiteY14" fmla="*/ 493655 h 1287580"/>
                <a:gd name="connsiteX15" fmla="*/ 312796 w 1288528"/>
                <a:gd name="connsiteY15" fmla="*/ 496263 h 1287580"/>
                <a:gd name="connsiteX16" fmla="*/ 340013 w 1288528"/>
                <a:gd name="connsiteY16" fmla="*/ 523461 h 1287580"/>
                <a:gd name="connsiteX17" fmla="*/ 765056 w 1288528"/>
                <a:gd name="connsiteY17" fmla="*/ 948190 h 1287580"/>
                <a:gd name="connsiteX18" fmla="*/ 801221 w 1288528"/>
                <a:gd name="connsiteY18" fmla="*/ 984330 h 1287580"/>
                <a:gd name="connsiteX19" fmla="*/ 812779 w 1288528"/>
                <a:gd name="connsiteY19" fmla="*/ 995879 h 1287580"/>
                <a:gd name="connsiteX20" fmla="*/ 969373 w 1288528"/>
                <a:gd name="connsiteY20" fmla="*/ 1152359 h 1287580"/>
                <a:gd name="connsiteX21" fmla="*/ 1066313 w 1288528"/>
                <a:gd name="connsiteY21" fmla="*/ 1249227 h 1287580"/>
                <a:gd name="connsiteX22" fmla="*/ 1288528 w 1288528"/>
                <a:gd name="connsiteY22" fmla="*/ 1157202 h 1287580"/>
                <a:gd name="connsiteX23" fmla="*/ 1288528 w 1288528"/>
                <a:gd name="connsiteY23" fmla="*/ 855793 h 1287580"/>
                <a:gd name="connsiteX24" fmla="*/ 1158406 w 1288528"/>
                <a:gd name="connsiteY24" fmla="*/ 725766 h 1287580"/>
                <a:gd name="connsiteX25" fmla="*/ 1007777 w 1288528"/>
                <a:gd name="connsiteY25" fmla="*/ 725766 h 1287580"/>
                <a:gd name="connsiteX26" fmla="*/ 1007777 w 1288528"/>
                <a:gd name="connsiteY26" fmla="*/ 725394 h 1287580"/>
                <a:gd name="connsiteX27" fmla="*/ 1007777 w 1288528"/>
                <a:gd name="connsiteY27" fmla="*/ 725394 h 1287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88528" h="1287580">
                  <a:moveTo>
                    <a:pt x="1007777" y="725394"/>
                  </a:moveTo>
                  <a:lnTo>
                    <a:pt x="792273" y="725394"/>
                  </a:lnTo>
                  <a:lnTo>
                    <a:pt x="792273" y="725394"/>
                  </a:lnTo>
                  <a:cubicBezTo>
                    <a:pt x="665506" y="724648"/>
                    <a:pt x="562973" y="622192"/>
                    <a:pt x="562228" y="495518"/>
                  </a:cubicBezTo>
                  <a:lnTo>
                    <a:pt x="562228" y="495518"/>
                  </a:lnTo>
                  <a:lnTo>
                    <a:pt x="562228" y="494400"/>
                  </a:lnTo>
                  <a:lnTo>
                    <a:pt x="562228" y="494400"/>
                  </a:lnTo>
                  <a:lnTo>
                    <a:pt x="562228" y="494400"/>
                  </a:lnTo>
                  <a:lnTo>
                    <a:pt x="562228" y="280545"/>
                  </a:lnTo>
                  <a:lnTo>
                    <a:pt x="562228" y="130027"/>
                  </a:lnTo>
                  <a:cubicBezTo>
                    <a:pt x="562228" y="58121"/>
                    <a:pt x="504065" y="0"/>
                    <a:pt x="432106" y="0"/>
                  </a:cubicBezTo>
                  <a:lnTo>
                    <a:pt x="130474" y="0"/>
                  </a:lnTo>
                  <a:cubicBezTo>
                    <a:pt x="14520" y="0"/>
                    <a:pt x="-43644" y="140086"/>
                    <a:pt x="38382" y="222052"/>
                  </a:cubicBezTo>
                  <a:lnTo>
                    <a:pt x="153591" y="337176"/>
                  </a:lnTo>
                  <a:lnTo>
                    <a:pt x="310186" y="493655"/>
                  </a:lnTo>
                  <a:lnTo>
                    <a:pt x="312796" y="496263"/>
                  </a:lnTo>
                  <a:lnTo>
                    <a:pt x="340013" y="523461"/>
                  </a:lnTo>
                  <a:lnTo>
                    <a:pt x="765056" y="948190"/>
                  </a:lnTo>
                  <a:lnTo>
                    <a:pt x="801221" y="984330"/>
                  </a:lnTo>
                  <a:lnTo>
                    <a:pt x="812779" y="995879"/>
                  </a:lnTo>
                  <a:lnTo>
                    <a:pt x="969373" y="1152359"/>
                  </a:lnTo>
                  <a:lnTo>
                    <a:pt x="1066313" y="1249227"/>
                  </a:lnTo>
                  <a:cubicBezTo>
                    <a:pt x="1148339" y="1331192"/>
                    <a:pt x="1288528" y="1273071"/>
                    <a:pt x="1288528" y="1157202"/>
                  </a:cubicBezTo>
                  <a:lnTo>
                    <a:pt x="1288528" y="855793"/>
                  </a:lnTo>
                  <a:cubicBezTo>
                    <a:pt x="1288528" y="783887"/>
                    <a:pt x="1230364" y="725766"/>
                    <a:pt x="1158406" y="725766"/>
                  </a:cubicBezTo>
                  <a:lnTo>
                    <a:pt x="1007777" y="725766"/>
                  </a:lnTo>
                  <a:lnTo>
                    <a:pt x="1007777" y="725394"/>
                  </a:lnTo>
                  <a:lnTo>
                    <a:pt x="1007777" y="725394"/>
                  </a:lnTo>
                  <a:close/>
                </a:path>
              </a:pathLst>
            </a:custGeom>
            <a:grpFill/>
            <a:ln w="3728"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F63ACABB-3A9A-454A-8FF3-644687295084}"/>
                </a:ext>
              </a:extLst>
            </p:cNvPr>
            <p:cNvSpPr/>
            <p:nvPr/>
          </p:nvSpPr>
          <p:spPr>
            <a:xfrm>
              <a:off x="11938117" y="422230"/>
              <a:ext cx="24397" cy="11538"/>
            </a:xfrm>
            <a:custGeom>
              <a:avLst/>
              <a:gdLst>
                <a:gd name="connsiteX0" fmla="*/ 71587 w 188286"/>
                <a:gd name="connsiteY0" fmla="*/ 14158 h 89044"/>
                <a:gd name="connsiteX1" fmla="*/ 44369 w 188286"/>
                <a:gd name="connsiteY1" fmla="*/ 14158 h 89044"/>
                <a:gd name="connsiteX2" fmla="*/ 44369 w 188286"/>
                <a:gd name="connsiteY2" fmla="*/ 89044 h 89044"/>
                <a:gd name="connsiteX3" fmla="*/ 27218 w 188286"/>
                <a:gd name="connsiteY3" fmla="*/ 89044 h 89044"/>
                <a:gd name="connsiteX4" fmla="*/ 27218 w 188286"/>
                <a:gd name="connsiteY4" fmla="*/ 14158 h 89044"/>
                <a:gd name="connsiteX5" fmla="*/ 0 w 188286"/>
                <a:gd name="connsiteY5" fmla="*/ 14158 h 89044"/>
                <a:gd name="connsiteX6" fmla="*/ 0 w 188286"/>
                <a:gd name="connsiteY6" fmla="*/ 0 h 89044"/>
                <a:gd name="connsiteX7" fmla="*/ 71587 w 188286"/>
                <a:gd name="connsiteY7" fmla="*/ 0 h 89044"/>
                <a:gd name="connsiteX8" fmla="*/ 71587 w 188286"/>
                <a:gd name="connsiteY8" fmla="*/ 14158 h 89044"/>
                <a:gd name="connsiteX9" fmla="*/ 71587 w 188286"/>
                <a:gd name="connsiteY9" fmla="*/ 14158 h 89044"/>
                <a:gd name="connsiteX10" fmla="*/ 139071 w 188286"/>
                <a:gd name="connsiteY10" fmla="*/ 62964 h 89044"/>
                <a:gd name="connsiteX11" fmla="*/ 163306 w 188286"/>
                <a:gd name="connsiteY11" fmla="*/ 0 h 89044"/>
                <a:gd name="connsiteX12" fmla="*/ 188286 w 188286"/>
                <a:gd name="connsiteY12" fmla="*/ 0 h 89044"/>
                <a:gd name="connsiteX13" fmla="*/ 188286 w 188286"/>
                <a:gd name="connsiteY13" fmla="*/ 88672 h 89044"/>
                <a:gd name="connsiteX14" fmla="*/ 172255 w 188286"/>
                <a:gd name="connsiteY14" fmla="*/ 88672 h 89044"/>
                <a:gd name="connsiteX15" fmla="*/ 172255 w 188286"/>
                <a:gd name="connsiteY15" fmla="*/ 19374 h 89044"/>
                <a:gd name="connsiteX16" fmla="*/ 171881 w 188286"/>
                <a:gd name="connsiteY16" fmla="*/ 19374 h 89044"/>
                <a:gd name="connsiteX17" fmla="*/ 145409 w 188286"/>
                <a:gd name="connsiteY17" fmla="*/ 88672 h 89044"/>
                <a:gd name="connsiteX18" fmla="*/ 133478 w 188286"/>
                <a:gd name="connsiteY18" fmla="*/ 88672 h 89044"/>
                <a:gd name="connsiteX19" fmla="*/ 107007 w 188286"/>
                <a:gd name="connsiteY19" fmla="*/ 19374 h 89044"/>
                <a:gd name="connsiteX20" fmla="*/ 106634 w 188286"/>
                <a:gd name="connsiteY20" fmla="*/ 19374 h 89044"/>
                <a:gd name="connsiteX21" fmla="*/ 106634 w 188286"/>
                <a:gd name="connsiteY21" fmla="*/ 88672 h 89044"/>
                <a:gd name="connsiteX22" fmla="*/ 90601 w 188286"/>
                <a:gd name="connsiteY22" fmla="*/ 88672 h 89044"/>
                <a:gd name="connsiteX23" fmla="*/ 90601 w 188286"/>
                <a:gd name="connsiteY23" fmla="*/ 0 h 89044"/>
                <a:gd name="connsiteX24" fmla="*/ 115582 w 188286"/>
                <a:gd name="connsiteY24" fmla="*/ 0 h 89044"/>
                <a:gd name="connsiteX25" fmla="*/ 139071 w 188286"/>
                <a:gd name="connsiteY25" fmla="*/ 62964 h 89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8286" h="89044">
                  <a:moveTo>
                    <a:pt x="71587" y="14158"/>
                  </a:moveTo>
                  <a:lnTo>
                    <a:pt x="44369" y="14158"/>
                  </a:lnTo>
                  <a:lnTo>
                    <a:pt x="44369" y="89044"/>
                  </a:lnTo>
                  <a:lnTo>
                    <a:pt x="27218" y="89044"/>
                  </a:lnTo>
                  <a:lnTo>
                    <a:pt x="27218" y="14158"/>
                  </a:lnTo>
                  <a:lnTo>
                    <a:pt x="0" y="14158"/>
                  </a:lnTo>
                  <a:lnTo>
                    <a:pt x="0" y="0"/>
                  </a:lnTo>
                  <a:lnTo>
                    <a:pt x="71587" y="0"/>
                  </a:lnTo>
                  <a:lnTo>
                    <a:pt x="71587" y="14158"/>
                  </a:lnTo>
                  <a:lnTo>
                    <a:pt x="71587" y="14158"/>
                  </a:lnTo>
                  <a:close/>
                  <a:moveTo>
                    <a:pt x="139071" y="62964"/>
                  </a:moveTo>
                  <a:lnTo>
                    <a:pt x="163306" y="0"/>
                  </a:lnTo>
                  <a:lnTo>
                    <a:pt x="188286" y="0"/>
                  </a:lnTo>
                  <a:lnTo>
                    <a:pt x="188286" y="88672"/>
                  </a:lnTo>
                  <a:lnTo>
                    <a:pt x="172255" y="88672"/>
                  </a:lnTo>
                  <a:lnTo>
                    <a:pt x="172255" y="19374"/>
                  </a:lnTo>
                  <a:lnTo>
                    <a:pt x="171881" y="19374"/>
                  </a:lnTo>
                  <a:lnTo>
                    <a:pt x="145409" y="88672"/>
                  </a:lnTo>
                  <a:lnTo>
                    <a:pt x="133478" y="88672"/>
                  </a:lnTo>
                  <a:lnTo>
                    <a:pt x="107007" y="19374"/>
                  </a:lnTo>
                  <a:lnTo>
                    <a:pt x="106634" y="19374"/>
                  </a:lnTo>
                  <a:lnTo>
                    <a:pt x="106634" y="88672"/>
                  </a:lnTo>
                  <a:lnTo>
                    <a:pt x="90601" y="88672"/>
                  </a:lnTo>
                  <a:lnTo>
                    <a:pt x="90601" y="0"/>
                  </a:lnTo>
                  <a:lnTo>
                    <a:pt x="115582" y="0"/>
                  </a:lnTo>
                  <a:lnTo>
                    <a:pt x="139071" y="62964"/>
                  </a:lnTo>
                  <a:close/>
                </a:path>
              </a:pathLst>
            </a:custGeom>
            <a:grpFill/>
            <a:ln w="3728" cap="flat">
              <a:noFill/>
              <a:prstDash val="solid"/>
              <a:miter/>
            </a:ln>
          </p:spPr>
          <p:txBody>
            <a:bodyPr rtlCol="0" anchor="ctr"/>
            <a:lstStyle/>
            <a:p>
              <a:endParaRPr lang="en-US"/>
            </a:p>
          </p:txBody>
        </p:sp>
      </p:grpSp>
    </p:spTree>
    <p:extLst>
      <p:ext uri="{BB962C8B-B14F-4D97-AF65-F5344CB8AC3E}">
        <p14:creationId xmlns:p14="http://schemas.microsoft.com/office/powerpoint/2010/main" val="489171954"/>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lternate Title">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AA441DBF-3234-8AE4-C3DE-3D3DEA127BBA}"/>
              </a:ext>
            </a:extLst>
          </p:cNvPr>
          <p:cNvSpPr/>
          <p:nvPr userDrawn="1"/>
        </p:nvSpPr>
        <p:spPr>
          <a:xfrm>
            <a:off x="0" y="0"/>
            <a:ext cx="12192000" cy="6858000"/>
          </a:xfrm>
          <a:prstGeom prst="rect">
            <a:avLst/>
          </a:prstGeom>
          <a:gradFill>
            <a:gsLst>
              <a:gs pos="0">
                <a:schemeClr val="accent1"/>
              </a:gs>
              <a:gs pos="50000">
                <a:schemeClr val="accent2"/>
              </a:gs>
              <a:gs pos="100000">
                <a:schemeClr val="accent3"/>
              </a:gs>
            </a:gsLst>
            <a:lin ang="81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ight Triangle 15">
            <a:extLst>
              <a:ext uri="{FF2B5EF4-FFF2-40B4-BE49-F238E27FC236}">
                <a16:creationId xmlns:a16="http://schemas.microsoft.com/office/drawing/2014/main" id="{4BD3CB0F-4404-2A7E-1FD6-E03023EAB672}"/>
              </a:ext>
            </a:extLst>
          </p:cNvPr>
          <p:cNvSpPr/>
          <p:nvPr userDrawn="1"/>
        </p:nvSpPr>
        <p:spPr>
          <a:xfrm rot="16200000">
            <a:off x="2658389" y="-2658393"/>
            <a:ext cx="6875223" cy="12192001"/>
          </a:xfrm>
          <a:prstGeom prst="rtTriangle">
            <a:avLst/>
          </a:prstGeom>
          <a:gradFill>
            <a:gsLst>
              <a:gs pos="0">
                <a:schemeClr val="accent1"/>
              </a:gs>
              <a:gs pos="50000">
                <a:schemeClr val="accent2"/>
              </a:gs>
              <a:gs pos="100000">
                <a:schemeClr val="accent3"/>
              </a:gs>
            </a:gsLst>
            <a:lin ang="16800000" scaled="0"/>
          </a:gradFill>
          <a:ln>
            <a:noFill/>
          </a:ln>
          <a:effectLst>
            <a:outerShdw blurRad="635000" dist="38100" dir="5400000" algn="ctr" rotWithShape="0">
              <a:schemeClr val="bg1">
                <a:lumMod val="10000"/>
                <a:alpha val="8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 Placeholder 14">
            <a:extLst>
              <a:ext uri="{FF2B5EF4-FFF2-40B4-BE49-F238E27FC236}">
                <a16:creationId xmlns:a16="http://schemas.microsoft.com/office/drawing/2014/main" id="{F33C628C-D29E-A044-B2EB-3DC2477C6A1B}"/>
              </a:ext>
            </a:extLst>
          </p:cNvPr>
          <p:cNvSpPr>
            <a:spLocks noGrp="1"/>
          </p:cNvSpPr>
          <p:nvPr>
            <p:ph type="body" sz="quarter" idx="11" hasCustomPrompt="1"/>
          </p:nvPr>
        </p:nvSpPr>
        <p:spPr>
          <a:xfrm>
            <a:off x="274638" y="4366035"/>
            <a:ext cx="5120322" cy="276999"/>
          </a:xfrm>
        </p:spPr>
        <p:txBody>
          <a:bodyPr wrap="square" lIns="45720" tIns="0" rIns="0" bIns="0" anchor="ctr">
            <a:spAutoFit/>
          </a:bodyPr>
          <a:lstStyle>
            <a:lvl1pPr marL="0" indent="0">
              <a:spcAft>
                <a:spcPts val="0"/>
              </a:spcAft>
              <a:buNone/>
              <a:defRPr sz="1800" b="0" i="0">
                <a:solidFill>
                  <a:schemeClr val="bg1"/>
                </a:solidFill>
                <a:latin typeface="+mn-lt"/>
              </a:defRPr>
            </a:lvl1pPr>
            <a:lvl2pPr marL="457200" indent="0">
              <a:buNone/>
              <a:defRPr sz="2400">
                <a:solidFill>
                  <a:schemeClr val="bg1"/>
                </a:solidFill>
              </a:defRPr>
            </a:lvl2pPr>
            <a:lvl3pPr marL="914400" indent="0">
              <a:buNone/>
              <a:defRPr sz="2400">
                <a:solidFill>
                  <a:schemeClr val="bg1"/>
                </a:solidFill>
              </a:defRPr>
            </a:lvl3pPr>
            <a:lvl4pPr marL="1371600" indent="0">
              <a:buNone/>
              <a:defRPr sz="2400">
                <a:solidFill>
                  <a:schemeClr val="bg1"/>
                </a:solidFill>
              </a:defRPr>
            </a:lvl4pPr>
            <a:lvl5pPr marL="1828800" indent="0">
              <a:buNone/>
              <a:defRPr sz="2400">
                <a:solidFill>
                  <a:schemeClr val="bg1"/>
                </a:solidFill>
              </a:defRPr>
            </a:lvl5pPr>
          </a:lstStyle>
          <a:p>
            <a:pPr lvl="0"/>
            <a:r>
              <a:rPr lang="en-US" dirty="0"/>
              <a:t>Click to Add Presenter’s Name, Title</a:t>
            </a:r>
          </a:p>
        </p:txBody>
      </p:sp>
      <p:sp>
        <p:nvSpPr>
          <p:cNvPr id="3" name="Title 2">
            <a:extLst>
              <a:ext uri="{FF2B5EF4-FFF2-40B4-BE49-F238E27FC236}">
                <a16:creationId xmlns:a16="http://schemas.microsoft.com/office/drawing/2014/main" id="{4314E5C1-6412-0848-82FF-8CCD2F72EE68}"/>
              </a:ext>
            </a:extLst>
          </p:cNvPr>
          <p:cNvSpPr>
            <a:spLocks noGrp="1"/>
          </p:cNvSpPr>
          <p:nvPr>
            <p:ph type="title" hasCustomPrompt="1"/>
          </p:nvPr>
        </p:nvSpPr>
        <p:spPr>
          <a:xfrm>
            <a:off x="274639" y="2970289"/>
            <a:ext cx="11636906" cy="1354483"/>
          </a:xfrm>
        </p:spPr>
        <p:txBody>
          <a:bodyPr wrap="square" tIns="0" anchor="b">
            <a:noAutofit/>
          </a:bodyPr>
          <a:lstStyle>
            <a:lvl1pPr>
              <a:lnSpc>
                <a:spcPts val="12000"/>
              </a:lnSpc>
              <a:defRPr sz="9600" b="1" spc="-300">
                <a:solidFill>
                  <a:schemeClr val="bg1"/>
                </a:solidFill>
                <a:latin typeface="+mj-lt"/>
              </a:defRPr>
            </a:lvl1pPr>
          </a:lstStyle>
          <a:p>
            <a:pPr lvl="0"/>
            <a:r>
              <a:rPr lang="en-US" dirty="0"/>
              <a:t>Click to Add Title</a:t>
            </a:r>
          </a:p>
        </p:txBody>
      </p:sp>
      <p:grpSp>
        <p:nvGrpSpPr>
          <p:cNvPr id="36" name="Group 35">
            <a:extLst>
              <a:ext uri="{FF2B5EF4-FFF2-40B4-BE49-F238E27FC236}">
                <a16:creationId xmlns:a16="http://schemas.microsoft.com/office/drawing/2014/main" id="{2E7FA8AE-0F47-67CB-5892-BACCA2E73E7C}"/>
              </a:ext>
            </a:extLst>
          </p:cNvPr>
          <p:cNvGrpSpPr/>
          <p:nvPr userDrawn="1"/>
        </p:nvGrpSpPr>
        <p:grpSpPr>
          <a:xfrm>
            <a:off x="323684" y="2347596"/>
            <a:ext cx="4851819" cy="543050"/>
            <a:chOff x="323684" y="2194560"/>
            <a:chExt cx="4851819" cy="543050"/>
          </a:xfrm>
        </p:grpSpPr>
        <p:sp>
          <p:nvSpPr>
            <p:cNvPr id="62" name="object 32">
              <a:extLst>
                <a:ext uri="{FF2B5EF4-FFF2-40B4-BE49-F238E27FC236}">
                  <a16:creationId xmlns:a16="http://schemas.microsoft.com/office/drawing/2014/main" id="{75912714-2D80-863F-A369-52A3F0C9959A}"/>
                </a:ext>
              </a:extLst>
            </p:cNvPr>
            <p:cNvSpPr/>
            <p:nvPr/>
          </p:nvSpPr>
          <p:spPr>
            <a:xfrm>
              <a:off x="1191768" y="2202179"/>
              <a:ext cx="3863340" cy="428625"/>
            </a:xfrm>
            <a:custGeom>
              <a:avLst/>
              <a:gdLst/>
              <a:ahLst/>
              <a:cxnLst/>
              <a:rect l="l" t="t" r="r" b="b"/>
              <a:pathLst>
                <a:path w="3863340" h="428625">
                  <a:moveTo>
                    <a:pt x="586740" y="0"/>
                  </a:moveTo>
                  <a:lnTo>
                    <a:pt x="504698" y="0"/>
                  </a:lnTo>
                  <a:lnTo>
                    <a:pt x="428244" y="299720"/>
                  </a:lnTo>
                  <a:lnTo>
                    <a:pt x="351790" y="0"/>
                  </a:lnTo>
                  <a:lnTo>
                    <a:pt x="246507" y="0"/>
                  </a:lnTo>
                  <a:lnTo>
                    <a:pt x="167894" y="308356"/>
                  </a:lnTo>
                  <a:lnTo>
                    <a:pt x="89281" y="0"/>
                  </a:lnTo>
                  <a:lnTo>
                    <a:pt x="0" y="0"/>
                  </a:lnTo>
                  <a:lnTo>
                    <a:pt x="108712" y="420624"/>
                  </a:lnTo>
                  <a:lnTo>
                    <a:pt x="220472" y="420624"/>
                  </a:lnTo>
                  <a:lnTo>
                    <a:pt x="296545" y="122555"/>
                  </a:lnTo>
                  <a:lnTo>
                    <a:pt x="372618" y="420624"/>
                  </a:lnTo>
                  <a:lnTo>
                    <a:pt x="478028" y="420624"/>
                  </a:lnTo>
                  <a:lnTo>
                    <a:pt x="586740" y="0"/>
                  </a:lnTo>
                  <a:close/>
                </a:path>
                <a:path w="3863340" h="428625">
                  <a:moveTo>
                    <a:pt x="851916" y="299212"/>
                  </a:moveTo>
                  <a:lnTo>
                    <a:pt x="851789" y="273558"/>
                  </a:lnTo>
                  <a:lnTo>
                    <a:pt x="847813" y="241046"/>
                  </a:lnTo>
                  <a:lnTo>
                    <a:pt x="846239" y="228066"/>
                  </a:lnTo>
                  <a:lnTo>
                    <a:pt x="829360" y="186029"/>
                  </a:lnTo>
                  <a:lnTo>
                    <a:pt x="823544" y="178943"/>
                  </a:lnTo>
                  <a:lnTo>
                    <a:pt x="800811" y="151269"/>
                  </a:lnTo>
                  <a:lnTo>
                    <a:pt x="767969" y="132130"/>
                  </a:lnTo>
                  <a:lnTo>
                    <a:pt x="767969" y="241046"/>
                  </a:lnTo>
                  <a:lnTo>
                    <a:pt x="645922" y="241046"/>
                  </a:lnTo>
                  <a:lnTo>
                    <a:pt x="651192" y="217474"/>
                  </a:lnTo>
                  <a:lnTo>
                    <a:pt x="662724" y="197662"/>
                  </a:lnTo>
                  <a:lnTo>
                    <a:pt x="681189" y="184023"/>
                  </a:lnTo>
                  <a:lnTo>
                    <a:pt x="707263" y="178943"/>
                  </a:lnTo>
                  <a:lnTo>
                    <a:pt x="732205" y="183705"/>
                  </a:lnTo>
                  <a:lnTo>
                    <a:pt x="750570" y="196811"/>
                  </a:lnTo>
                  <a:lnTo>
                    <a:pt x="762444" y="216509"/>
                  </a:lnTo>
                  <a:lnTo>
                    <a:pt x="767969" y="241046"/>
                  </a:lnTo>
                  <a:lnTo>
                    <a:pt x="767969" y="132130"/>
                  </a:lnTo>
                  <a:lnTo>
                    <a:pt x="760234" y="127609"/>
                  </a:lnTo>
                  <a:lnTo>
                    <a:pt x="707263" y="118872"/>
                  </a:lnTo>
                  <a:lnTo>
                    <a:pt x="658101" y="126542"/>
                  </a:lnTo>
                  <a:lnTo>
                    <a:pt x="617905" y="148056"/>
                  </a:lnTo>
                  <a:lnTo>
                    <a:pt x="587794" y="181203"/>
                  </a:lnTo>
                  <a:lnTo>
                    <a:pt x="568896" y="223774"/>
                  </a:lnTo>
                  <a:lnTo>
                    <a:pt x="562356" y="273558"/>
                  </a:lnTo>
                  <a:lnTo>
                    <a:pt x="568833" y="322859"/>
                  </a:lnTo>
                  <a:lnTo>
                    <a:pt x="587730" y="365379"/>
                  </a:lnTo>
                  <a:lnTo>
                    <a:pt x="618223" y="398703"/>
                  </a:lnTo>
                  <a:lnTo>
                    <a:pt x="659523" y="420471"/>
                  </a:lnTo>
                  <a:lnTo>
                    <a:pt x="710819" y="428244"/>
                  </a:lnTo>
                  <a:lnTo>
                    <a:pt x="763168" y="420382"/>
                  </a:lnTo>
                  <a:lnTo>
                    <a:pt x="799045" y="401866"/>
                  </a:lnTo>
                  <a:lnTo>
                    <a:pt x="820966" y="380352"/>
                  </a:lnTo>
                  <a:lnTo>
                    <a:pt x="828624" y="368046"/>
                  </a:lnTo>
                  <a:lnTo>
                    <a:pt x="831469" y="363474"/>
                  </a:lnTo>
                  <a:lnTo>
                    <a:pt x="774954" y="330835"/>
                  </a:lnTo>
                  <a:lnTo>
                    <a:pt x="769734" y="339712"/>
                  </a:lnTo>
                  <a:lnTo>
                    <a:pt x="758698" y="352158"/>
                  </a:lnTo>
                  <a:lnTo>
                    <a:pt x="739838" y="363258"/>
                  </a:lnTo>
                  <a:lnTo>
                    <a:pt x="711200" y="368046"/>
                  </a:lnTo>
                  <a:lnTo>
                    <a:pt x="685888" y="362940"/>
                  </a:lnTo>
                  <a:lnTo>
                    <a:pt x="665810" y="348678"/>
                  </a:lnTo>
                  <a:lnTo>
                    <a:pt x="652132" y="326898"/>
                  </a:lnTo>
                  <a:lnTo>
                    <a:pt x="646049" y="299212"/>
                  </a:lnTo>
                  <a:lnTo>
                    <a:pt x="851916" y="299212"/>
                  </a:lnTo>
                  <a:close/>
                </a:path>
                <a:path w="3863340" h="428625">
                  <a:moveTo>
                    <a:pt x="1121664" y="335534"/>
                  </a:moveTo>
                  <a:lnTo>
                    <a:pt x="1097064" y="274688"/>
                  </a:lnTo>
                  <a:lnTo>
                    <a:pt x="1038860" y="243459"/>
                  </a:lnTo>
                  <a:lnTo>
                    <a:pt x="991108" y="228727"/>
                  </a:lnTo>
                  <a:lnTo>
                    <a:pt x="977709" y="222885"/>
                  </a:lnTo>
                  <a:lnTo>
                    <a:pt x="968108" y="214566"/>
                  </a:lnTo>
                  <a:lnTo>
                    <a:pt x="964438" y="202438"/>
                  </a:lnTo>
                  <a:lnTo>
                    <a:pt x="966939" y="192811"/>
                  </a:lnTo>
                  <a:lnTo>
                    <a:pt x="974305" y="185483"/>
                  </a:lnTo>
                  <a:lnTo>
                    <a:pt x="986294" y="180835"/>
                  </a:lnTo>
                  <a:lnTo>
                    <a:pt x="1002665" y="179197"/>
                  </a:lnTo>
                  <a:lnTo>
                    <a:pt x="1027353" y="182803"/>
                  </a:lnTo>
                  <a:lnTo>
                    <a:pt x="1044079" y="191350"/>
                  </a:lnTo>
                  <a:lnTo>
                    <a:pt x="1054544" y="201434"/>
                  </a:lnTo>
                  <a:lnTo>
                    <a:pt x="1060450" y="209677"/>
                  </a:lnTo>
                  <a:lnTo>
                    <a:pt x="1114298" y="173355"/>
                  </a:lnTo>
                  <a:lnTo>
                    <a:pt x="1104480" y="159867"/>
                  </a:lnTo>
                  <a:lnTo>
                    <a:pt x="1083437" y="141693"/>
                  </a:lnTo>
                  <a:lnTo>
                    <a:pt x="1048004" y="125730"/>
                  </a:lnTo>
                  <a:lnTo>
                    <a:pt x="995045" y="118872"/>
                  </a:lnTo>
                  <a:lnTo>
                    <a:pt x="950874" y="124790"/>
                  </a:lnTo>
                  <a:lnTo>
                    <a:pt x="914501" y="142049"/>
                  </a:lnTo>
                  <a:lnTo>
                    <a:pt x="889825" y="169989"/>
                  </a:lnTo>
                  <a:lnTo>
                    <a:pt x="880745" y="207899"/>
                  </a:lnTo>
                  <a:lnTo>
                    <a:pt x="887387" y="242735"/>
                  </a:lnTo>
                  <a:lnTo>
                    <a:pt x="905205" y="268566"/>
                  </a:lnTo>
                  <a:lnTo>
                    <a:pt x="930935" y="286893"/>
                  </a:lnTo>
                  <a:lnTo>
                    <a:pt x="961390" y="299212"/>
                  </a:lnTo>
                  <a:lnTo>
                    <a:pt x="997839" y="310388"/>
                  </a:lnTo>
                  <a:lnTo>
                    <a:pt x="1013637" y="315823"/>
                  </a:lnTo>
                  <a:lnTo>
                    <a:pt x="1026375" y="322033"/>
                  </a:lnTo>
                  <a:lnTo>
                    <a:pt x="1034872" y="330161"/>
                  </a:lnTo>
                  <a:lnTo>
                    <a:pt x="1037971" y="341376"/>
                  </a:lnTo>
                  <a:lnTo>
                    <a:pt x="1034770" y="352145"/>
                  </a:lnTo>
                  <a:lnTo>
                    <a:pt x="1025474" y="360578"/>
                  </a:lnTo>
                  <a:lnTo>
                    <a:pt x="1010475" y="366077"/>
                  </a:lnTo>
                  <a:lnTo>
                    <a:pt x="990219" y="368046"/>
                  </a:lnTo>
                  <a:lnTo>
                    <a:pt x="964679" y="364185"/>
                  </a:lnTo>
                  <a:lnTo>
                    <a:pt x="946150" y="354926"/>
                  </a:lnTo>
                  <a:lnTo>
                    <a:pt x="933704" y="343776"/>
                  </a:lnTo>
                  <a:lnTo>
                    <a:pt x="926465" y="334264"/>
                  </a:lnTo>
                  <a:lnTo>
                    <a:pt x="870204" y="365887"/>
                  </a:lnTo>
                  <a:lnTo>
                    <a:pt x="879513" y="381419"/>
                  </a:lnTo>
                  <a:lnTo>
                    <a:pt x="901382" y="402209"/>
                  </a:lnTo>
                  <a:lnTo>
                    <a:pt x="938961" y="420433"/>
                  </a:lnTo>
                  <a:lnTo>
                    <a:pt x="995426" y="428244"/>
                  </a:lnTo>
                  <a:lnTo>
                    <a:pt x="1043914" y="422770"/>
                  </a:lnTo>
                  <a:lnTo>
                    <a:pt x="1084110" y="405892"/>
                  </a:lnTo>
                  <a:lnTo>
                    <a:pt x="1111529" y="377024"/>
                  </a:lnTo>
                  <a:lnTo>
                    <a:pt x="1121664" y="335534"/>
                  </a:lnTo>
                  <a:close/>
                </a:path>
                <a:path w="3863340" h="428625">
                  <a:moveTo>
                    <a:pt x="1306068" y="128143"/>
                  </a:moveTo>
                  <a:lnTo>
                    <a:pt x="1240282" y="128143"/>
                  </a:lnTo>
                  <a:lnTo>
                    <a:pt x="1240282" y="54864"/>
                  </a:lnTo>
                  <a:lnTo>
                    <a:pt x="1156716" y="54864"/>
                  </a:lnTo>
                  <a:lnTo>
                    <a:pt x="1156716" y="329438"/>
                  </a:lnTo>
                  <a:lnTo>
                    <a:pt x="1161148" y="368236"/>
                  </a:lnTo>
                  <a:lnTo>
                    <a:pt x="1176020" y="399605"/>
                  </a:lnTo>
                  <a:lnTo>
                    <a:pt x="1203642" y="420598"/>
                  </a:lnTo>
                  <a:lnTo>
                    <a:pt x="1246378" y="428244"/>
                  </a:lnTo>
                  <a:lnTo>
                    <a:pt x="1267853" y="427075"/>
                  </a:lnTo>
                  <a:lnTo>
                    <a:pt x="1285328" y="424395"/>
                  </a:lnTo>
                  <a:lnTo>
                    <a:pt x="1297813" y="421449"/>
                  </a:lnTo>
                  <a:lnTo>
                    <a:pt x="1304290" y="419481"/>
                  </a:lnTo>
                  <a:lnTo>
                    <a:pt x="1304290" y="369189"/>
                  </a:lnTo>
                  <a:lnTo>
                    <a:pt x="1302004" y="369824"/>
                  </a:lnTo>
                  <a:lnTo>
                    <a:pt x="1294257" y="371094"/>
                  </a:lnTo>
                  <a:lnTo>
                    <a:pt x="1280795" y="371094"/>
                  </a:lnTo>
                  <a:lnTo>
                    <a:pt x="1263802" y="367982"/>
                  </a:lnTo>
                  <a:lnTo>
                    <a:pt x="1251051" y="359257"/>
                  </a:lnTo>
                  <a:lnTo>
                    <a:pt x="1243050" y="345808"/>
                  </a:lnTo>
                  <a:lnTo>
                    <a:pt x="1240282" y="328549"/>
                  </a:lnTo>
                  <a:lnTo>
                    <a:pt x="1240282" y="186182"/>
                  </a:lnTo>
                  <a:lnTo>
                    <a:pt x="1306068" y="186182"/>
                  </a:lnTo>
                  <a:lnTo>
                    <a:pt x="1306068" y="128143"/>
                  </a:lnTo>
                  <a:close/>
                </a:path>
                <a:path w="3863340" h="428625">
                  <a:moveTo>
                    <a:pt x="1603248" y="273558"/>
                  </a:moveTo>
                  <a:lnTo>
                    <a:pt x="1599260" y="241046"/>
                  </a:lnTo>
                  <a:lnTo>
                    <a:pt x="1597660" y="228066"/>
                  </a:lnTo>
                  <a:lnTo>
                    <a:pt x="1580705" y="186029"/>
                  </a:lnTo>
                  <a:lnTo>
                    <a:pt x="1574850" y="178943"/>
                  </a:lnTo>
                  <a:lnTo>
                    <a:pt x="1552003" y="151269"/>
                  </a:lnTo>
                  <a:lnTo>
                    <a:pt x="1519047" y="132168"/>
                  </a:lnTo>
                  <a:lnTo>
                    <a:pt x="1519047" y="241046"/>
                  </a:lnTo>
                  <a:lnTo>
                    <a:pt x="1396111" y="241046"/>
                  </a:lnTo>
                  <a:lnTo>
                    <a:pt x="1401483" y="217474"/>
                  </a:lnTo>
                  <a:lnTo>
                    <a:pt x="1413129" y="197662"/>
                  </a:lnTo>
                  <a:lnTo>
                    <a:pt x="1431721" y="184023"/>
                  </a:lnTo>
                  <a:lnTo>
                    <a:pt x="1457960" y="178943"/>
                  </a:lnTo>
                  <a:lnTo>
                    <a:pt x="1483017" y="183705"/>
                  </a:lnTo>
                  <a:lnTo>
                    <a:pt x="1501495" y="196811"/>
                  </a:lnTo>
                  <a:lnTo>
                    <a:pt x="1513484" y="216509"/>
                  </a:lnTo>
                  <a:lnTo>
                    <a:pt x="1519047" y="241046"/>
                  </a:lnTo>
                  <a:lnTo>
                    <a:pt x="1519047" y="132168"/>
                  </a:lnTo>
                  <a:lnTo>
                    <a:pt x="1511198" y="127609"/>
                  </a:lnTo>
                  <a:lnTo>
                    <a:pt x="1457960" y="118872"/>
                  </a:lnTo>
                  <a:lnTo>
                    <a:pt x="1408455" y="126542"/>
                  </a:lnTo>
                  <a:lnTo>
                    <a:pt x="1368005" y="148056"/>
                  </a:lnTo>
                  <a:lnTo>
                    <a:pt x="1337729" y="181203"/>
                  </a:lnTo>
                  <a:lnTo>
                    <a:pt x="1318742" y="223774"/>
                  </a:lnTo>
                  <a:lnTo>
                    <a:pt x="1312164" y="273558"/>
                  </a:lnTo>
                  <a:lnTo>
                    <a:pt x="1318679" y="322859"/>
                  </a:lnTo>
                  <a:lnTo>
                    <a:pt x="1337703" y="365379"/>
                  </a:lnTo>
                  <a:lnTo>
                    <a:pt x="1368399" y="398703"/>
                  </a:lnTo>
                  <a:lnTo>
                    <a:pt x="1409941" y="420471"/>
                  </a:lnTo>
                  <a:lnTo>
                    <a:pt x="1461516" y="428244"/>
                  </a:lnTo>
                  <a:lnTo>
                    <a:pt x="1514119" y="420382"/>
                  </a:lnTo>
                  <a:lnTo>
                    <a:pt x="1550200" y="401866"/>
                  </a:lnTo>
                  <a:lnTo>
                    <a:pt x="1572260" y="380352"/>
                  </a:lnTo>
                  <a:lnTo>
                    <a:pt x="1579943" y="368046"/>
                  </a:lnTo>
                  <a:lnTo>
                    <a:pt x="1582801" y="363474"/>
                  </a:lnTo>
                  <a:lnTo>
                    <a:pt x="1526032" y="330835"/>
                  </a:lnTo>
                  <a:lnTo>
                    <a:pt x="1520736" y="339712"/>
                  </a:lnTo>
                  <a:lnTo>
                    <a:pt x="1509623" y="352158"/>
                  </a:lnTo>
                  <a:lnTo>
                    <a:pt x="1490687" y="363258"/>
                  </a:lnTo>
                  <a:lnTo>
                    <a:pt x="1461897" y="368046"/>
                  </a:lnTo>
                  <a:lnTo>
                    <a:pt x="1436420" y="362940"/>
                  </a:lnTo>
                  <a:lnTo>
                    <a:pt x="1416202" y="348678"/>
                  </a:lnTo>
                  <a:lnTo>
                    <a:pt x="1402422" y="326898"/>
                  </a:lnTo>
                  <a:lnTo>
                    <a:pt x="1396238" y="299212"/>
                  </a:lnTo>
                  <a:lnTo>
                    <a:pt x="1603248" y="299212"/>
                  </a:lnTo>
                  <a:lnTo>
                    <a:pt x="1603248" y="273558"/>
                  </a:lnTo>
                  <a:close/>
                </a:path>
                <a:path w="3863340" h="428625">
                  <a:moveTo>
                    <a:pt x="1818132" y="118872"/>
                  </a:moveTo>
                  <a:lnTo>
                    <a:pt x="1771205" y="125780"/>
                  </a:lnTo>
                  <a:lnTo>
                    <a:pt x="1741817" y="141973"/>
                  </a:lnTo>
                  <a:lnTo>
                    <a:pt x="1725599" y="160718"/>
                  </a:lnTo>
                  <a:lnTo>
                    <a:pt x="1718183" y="175260"/>
                  </a:lnTo>
                  <a:lnTo>
                    <a:pt x="1716913" y="175260"/>
                  </a:lnTo>
                  <a:lnTo>
                    <a:pt x="1716913" y="127635"/>
                  </a:lnTo>
                  <a:lnTo>
                    <a:pt x="1641348" y="127635"/>
                  </a:lnTo>
                  <a:lnTo>
                    <a:pt x="1641348" y="420624"/>
                  </a:lnTo>
                  <a:lnTo>
                    <a:pt x="1725803" y="420624"/>
                  </a:lnTo>
                  <a:lnTo>
                    <a:pt x="1725803" y="275209"/>
                  </a:lnTo>
                  <a:lnTo>
                    <a:pt x="1733130" y="234746"/>
                  </a:lnTo>
                  <a:lnTo>
                    <a:pt x="1753044" y="207149"/>
                  </a:lnTo>
                  <a:lnTo>
                    <a:pt x="1782381" y="191350"/>
                  </a:lnTo>
                  <a:lnTo>
                    <a:pt x="1818005" y="186309"/>
                  </a:lnTo>
                  <a:lnTo>
                    <a:pt x="1818017" y="175260"/>
                  </a:lnTo>
                  <a:lnTo>
                    <a:pt x="1818132" y="118872"/>
                  </a:lnTo>
                  <a:close/>
                </a:path>
                <a:path w="3863340" h="428625">
                  <a:moveTo>
                    <a:pt x="2119884" y="224663"/>
                  </a:moveTo>
                  <a:lnTo>
                    <a:pt x="2114016" y="185928"/>
                  </a:lnTo>
                  <a:lnTo>
                    <a:pt x="2094191" y="149098"/>
                  </a:lnTo>
                  <a:lnTo>
                    <a:pt x="2061591" y="126911"/>
                  </a:lnTo>
                  <a:lnTo>
                    <a:pt x="2015363" y="118872"/>
                  </a:lnTo>
                  <a:lnTo>
                    <a:pt x="1978685" y="124434"/>
                  </a:lnTo>
                  <a:lnTo>
                    <a:pt x="1953933" y="137375"/>
                  </a:lnTo>
                  <a:lnTo>
                    <a:pt x="1938972" y="152146"/>
                  </a:lnTo>
                  <a:lnTo>
                    <a:pt x="1931670" y="163195"/>
                  </a:lnTo>
                  <a:lnTo>
                    <a:pt x="1930400" y="163195"/>
                  </a:lnTo>
                  <a:lnTo>
                    <a:pt x="1930654" y="127635"/>
                  </a:lnTo>
                  <a:lnTo>
                    <a:pt x="1847088" y="127635"/>
                  </a:lnTo>
                  <a:lnTo>
                    <a:pt x="1847088" y="420624"/>
                  </a:lnTo>
                  <a:lnTo>
                    <a:pt x="1931162" y="420624"/>
                  </a:lnTo>
                  <a:lnTo>
                    <a:pt x="1931162" y="244348"/>
                  </a:lnTo>
                  <a:lnTo>
                    <a:pt x="1934591" y="220383"/>
                  </a:lnTo>
                  <a:lnTo>
                    <a:pt x="1944649" y="201955"/>
                  </a:lnTo>
                  <a:lnTo>
                    <a:pt x="1960943" y="190119"/>
                  </a:lnTo>
                  <a:lnTo>
                    <a:pt x="1983105" y="185928"/>
                  </a:lnTo>
                  <a:lnTo>
                    <a:pt x="2007196" y="190741"/>
                  </a:lnTo>
                  <a:lnTo>
                    <a:pt x="2023554" y="203619"/>
                  </a:lnTo>
                  <a:lnTo>
                    <a:pt x="2032850" y="222262"/>
                  </a:lnTo>
                  <a:lnTo>
                    <a:pt x="2035810" y="244348"/>
                  </a:lnTo>
                  <a:lnTo>
                    <a:pt x="2035810" y="420624"/>
                  </a:lnTo>
                  <a:lnTo>
                    <a:pt x="2119884" y="420624"/>
                  </a:lnTo>
                  <a:lnTo>
                    <a:pt x="2119884" y="224663"/>
                  </a:lnTo>
                  <a:close/>
                </a:path>
                <a:path w="3863340" h="428625">
                  <a:moveTo>
                    <a:pt x="2636520" y="210185"/>
                  </a:moveTo>
                  <a:lnTo>
                    <a:pt x="2631567" y="152527"/>
                  </a:lnTo>
                  <a:lnTo>
                    <a:pt x="2617203" y="104597"/>
                  </a:lnTo>
                  <a:lnTo>
                    <a:pt x="2596273" y="69850"/>
                  </a:lnTo>
                  <a:lnTo>
                    <a:pt x="2594013" y="66090"/>
                  </a:lnTo>
                  <a:lnTo>
                    <a:pt x="2562568" y="36703"/>
                  </a:lnTo>
                  <a:lnTo>
                    <a:pt x="2544064" y="26974"/>
                  </a:lnTo>
                  <a:lnTo>
                    <a:pt x="2544064" y="210439"/>
                  </a:lnTo>
                  <a:lnTo>
                    <a:pt x="2541536" y="250698"/>
                  </a:lnTo>
                  <a:lnTo>
                    <a:pt x="2531491" y="288696"/>
                  </a:lnTo>
                  <a:lnTo>
                    <a:pt x="2510205" y="320624"/>
                  </a:lnTo>
                  <a:lnTo>
                    <a:pt x="2473972" y="342595"/>
                  </a:lnTo>
                  <a:lnTo>
                    <a:pt x="2419096" y="350774"/>
                  </a:lnTo>
                  <a:lnTo>
                    <a:pt x="2371471" y="350774"/>
                  </a:lnTo>
                  <a:lnTo>
                    <a:pt x="2371471" y="69850"/>
                  </a:lnTo>
                  <a:lnTo>
                    <a:pt x="2419096" y="69850"/>
                  </a:lnTo>
                  <a:lnTo>
                    <a:pt x="2473642" y="78041"/>
                  </a:lnTo>
                  <a:lnTo>
                    <a:pt x="2509824" y="100025"/>
                  </a:lnTo>
                  <a:lnTo>
                    <a:pt x="2531237" y="131991"/>
                  </a:lnTo>
                  <a:lnTo>
                    <a:pt x="2541447" y="170078"/>
                  </a:lnTo>
                  <a:lnTo>
                    <a:pt x="2544064" y="210439"/>
                  </a:lnTo>
                  <a:lnTo>
                    <a:pt x="2544064" y="26974"/>
                  </a:lnTo>
                  <a:lnTo>
                    <a:pt x="2523426" y="16103"/>
                  </a:lnTo>
                  <a:lnTo>
                    <a:pt x="2477198" y="3975"/>
                  </a:lnTo>
                  <a:lnTo>
                    <a:pt x="2424430" y="0"/>
                  </a:lnTo>
                  <a:lnTo>
                    <a:pt x="2281428" y="0"/>
                  </a:lnTo>
                  <a:lnTo>
                    <a:pt x="2281428" y="420624"/>
                  </a:lnTo>
                  <a:lnTo>
                    <a:pt x="2424430" y="420624"/>
                  </a:lnTo>
                  <a:lnTo>
                    <a:pt x="2471750" y="417588"/>
                  </a:lnTo>
                  <a:lnTo>
                    <a:pt x="2513711" y="408317"/>
                  </a:lnTo>
                  <a:lnTo>
                    <a:pt x="2550020" y="392620"/>
                  </a:lnTo>
                  <a:lnTo>
                    <a:pt x="2596477" y="350774"/>
                  </a:lnTo>
                  <a:lnTo>
                    <a:pt x="2604503" y="341071"/>
                  </a:lnTo>
                  <a:lnTo>
                    <a:pt x="2622092" y="304800"/>
                  </a:lnTo>
                  <a:lnTo>
                    <a:pt x="2632862" y="261239"/>
                  </a:lnTo>
                  <a:lnTo>
                    <a:pt x="2636520" y="210185"/>
                  </a:lnTo>
                  <a:close/>
                </a:path>
                <a:path w="3863340" h="428625">
                  <a:moveTo>
                    <a:pt x="3439668" y="128143"/>
                  </a:moveTo>
                  <a:lnTo>
                    <a:pt x="3373882" y="128143"/>
                  </a:lnTo>
                  <a:lnTo>
                    <a:pt x="3373882" y="54864"/>
                  </a:lnTo>
                  <a:lnTo>
                    <a:pt x="3290316" y="54864"/>
                  </a:lnTo>
                  <a:lnTo>
                    <a:pt x="3290316" y="329438"/>
                  </a:lnTo>
                  <a:lnTo>
                    <a:pt x="3294748" y="368236"/>
                  </a:lnTo>
                  <a:lnTo>
                    <a:pt x="3309620" y="399605"/>
                  </a:lnTo>
                  <a:lnTo>
                    <a:pt x="3337242" y="420598"/>
                  </a:lnTo>
                  <a:lnTo>
                    <a:pt x="3379978" y="428244"/>
                  </a:lnTo>
                  <a:lnTo>
                    <a:pt x="3401453" y="427075"/>
                  </a:lnTo>
                  <a:lnTo>
                    <a:pt x="3418929" y="424395"/>
                  </a:lnTo>
                  <a:lnTo>
                    <a:pt x="3431413" y="421449"/>
                  </a:lnTo>
                  <a:lnTo>
                    <a:pt x="3437890" y="419481"/>
                  </a:lnTo>
                  <a:lnTo>
                    <a:pt x="3437890" y="369189"/>
                  </a:lnTo>
                  <a:lnTo>
                    <a:pt x="3435604" y="369824"/>
                  </a:lnTo>
                  <a:lnTo>
                    <a:pt x="3427857" y="371094"/>
                  </a:lnTo>
                  <a:lnTo>
                    <a:pt x="3414395" y="371094"/>
                  </a:lnTo>
                  <a:lnTo>
                    <a:pt x="3397402" y="367982"/>
                  </a:lnTo>
                  <a:lnTo>
                    <a:pt x="3384651" y="359257"/>
                  </a:lnTo>
                  <a:lnTo>
                    <a:pt x="3376650" y="345808"/>
                  </a:lnTo>
                  <a:lnTo>
                    <a:pt x="3373882" y="328549"/>
                  </a:lnTo>
                  <a:lnTo>
                    <a:pt x="3373882" y="186182"/>
                  </a:lnTo>
                  <a:lnTo>
                    <a:pt x="3439668" y="186182"/>
                  </a:lnTo>
                  <a:lnTo>
                    <a:pt x="3439668" y="128143"/>
                  </a:lnTo>
                  <a:close/>
                </a:path>
                <a:path w="3863340" h="428625">
                  <a:moveTo>
                    <a:pt x="3863340" y="0"/>
                  </a:moveTo>
                  <a:lnTo>
                    <a:pt x="3777996" y="0"/>
                  </a:lnTo>
                  <a:lnTo>
                    <a:pt x="3777996" y="420624"/>
                  </a:lnTo>
                  <a:lnTo>
                    <a:pt x="3863340" y="420624"/>
                  </a:lnTo>
                  <a:lnTo>
                    <a:pt x="3863340" y="0"/>
                  </a:lnTo>
                  <a:close/>
                </a:path>
              </a:pathLst>
            </a:custGeom>
            <a:solidFill>
              <a:srgbClr val="F9F9F9"/>
            </a:solidFill>
          </p:spPr>
          <p:txBody>
            <a:bodyPr wrap="square" lIns="0" tIns="0" rIns="0" bIns="0" rtlCol="0"/>
            <a:lstStyle/>
            <a:p>
              <a:endParaRPr/>
            </a:p>
          </p:txBody>
        </p:sp>
        <p:pic>
          <p:nvPicPr>
            <p:cNvPr id="63" name="object 33">
              <a:extLst>
                <a:ext uri="{FF2B5EF4-FFF2-40B4-BE49-F238E27FC236}">
                  <a16:creationId xmlns:a16="http://schemas.microsoft.com/office/drawing/2014/main" id="{79C9045A-2739-692F-05FC-50820FFAC214}"/>
                </a:ext>
              </a:extLst>
            </p:cNvPr>
            <p:cNvPicPr/>
            <p:nvPr/>
          </p:nvPicPr>
          <p:blipFill>
            <a:blip r:embed="rId2" cstate="print"/>
            <a:stretch>
              <a:fillRect/>
            </a:stretch>
          </p:blipFill>
          <p:spPr>
            <a:xfrm>
              <a:off x="5102352" y="2558795"/>
              <a:ext cx="73151" cy="71627"/>
            </a:xfrm>
            <a:prstGeom prst="rect">
              <a:avLst/>
            </a:prstGeom>
          </p:spPr>
        </p:pic>
        <p:sp>
          <p:nvSpPr>
            <p:cNvPr id="64" name="object 34">
              <a:extLst>
                <a:ext uri="{FF2B5EF4-FFF2-40B4-BE49-F238E27FC236}">
                  <a16:creationId xmlns:a16="http://schemas.microsoft.com/office/drawing/2014/main" id="{9A25DFB0-015B-E563-3642-587BCC315F73}"/>
                </a:ext>
              </a:extLst>
            </p:cNvPr>
            <p:cNvSpPr/>
            <p:nvPr/>
          </p:nvSpPr>
          <p:spPr>
            <a:xfrm>
              <a:off x="3872484" y="2321051"/>
              <a:ext cx="1039494" cy="416559"/>
            </a:xfrm>
            <a:custGeom>
              <a:avLst/>
              <a:gdLst/>
              <a:ahLst/>
              <a:cxnLst/>
              <a:rect l="l" t="t" r="r" b="b"/>
              <a:pathLst>
                <a:path w="1039495" h="416560">
                  <a:moveTo>
                    <a:pt x="86868" y="9144"/>
                  </a:moveTo>
                  <a:lnTo>
                    <a:pt x="0" y="9144"/>
                  </a:lnTo>
                  <a:lnTo>
                    <a:pt x="0" y="301752"/>
                  </a:lnTo>
                  <a:lnTo>
                    <a:pt x="86868" y="301752"/>
                  </a:lnTo>
                  <a:lnTo>
                    <a:pt x="86868" y="9144"/>
                  </a:lnTo>
                  <a:close/>
                </a:path>
                <a:path w="1039495" h="416560">
                  <a:moveTo>
                    <a:pt x="413004" y="8763"/>
                  </a:moveTo>
                  <a:lnTo>
                    <a:pt x="329184" y="8763"/>
                  </a:lnTo>
                  <a:lnTo>
                    <a:pt x="329184" y="147574"/>
                  </a:lnTo>
                  <a:lnTo>
                    <a:pt x="326847" y="176758"/>
                  </a:lnTo>
                  <a:lnTo>
                    <a:pt x="318325" y="204063"/>
                  </a:lnTo>
                  <a:lnTo>
                    <a:pt x="301028" y="224269"/>
                  </a:lnTo>
                  <a:lnTo>
                    <a:pt x="272415" y="232156"/>
                  </a:lnTo>
                  <a:lnTo>
                    <a:pt x="243281" y="224256"/>
                  </a:lnTo>
                  <a:lnTo>
                    <a:pt x="226021" y="204012"/>
                  </a:lnTo>
                  <a:lnTo>
                    <a:pt x="217754" y="176707"/>
                  </a:lnTo>
                  <a:lnTo>
                    <a:pt x="215646" y="147574"/>
                  </a:lnTo>
                  <a:lnTo>
                    <a:pt x="218224" y="116154"/>
                  </a:lnTo>
                  <a:lnTo>
                    <a:pt x="227266" y="89103"/>
                  </a:lnTo>
                  <a:lnTo>
                    <a:pt x="244678" y="70142"/>
                  </a:lnTo>
                  <a:lnTo>
                    <a:pt x="272415" y="62992"/>
                  </a:lnTo>
                  <a:lnTo>
                    <a:pt x="300037" y="70154"/>
                  </a:lnTo>
                  <a:lnTo>
                    <a:pt x="317461" y="89141"/>
                  </a:lnTo>
                  <a:lnTo>
                    <a:pt x="326555" y="116205"/>
                  </a:lnTo>
                  <a:lnTo>
                    <a:pt x="329184" y="147574"/>
                  </a:lnTo>
                  <a:lnTo>
                    <a:pt x="329184" y="8763"/>
                  </a:lnTo>
                  <a:lnTo>
                    <a:pt x="329057" y="8763"/>
                  </a:lnTo>
                  <a:lnTo>
                    <a:pt x="329057" y="40132"/>
                  </a:lnTo>
                  <a:lnTo>
                    <a:pt x="327787" y="40132"/>
                  </a:lnTo>
                  <a:lnTo>
                    <a:pt x="320751" y="30060"/>
                  </a:lnTo>
                  <a:lnTo>
                    <a:pt x="306158" y="16687"/>
                  </a:lnTo>
                  <a:lnTo>
                    <a:pt x="282270" y="5003"/>
                  </a:lnTo>
                  <a:lnTo>
                    <a:pt x="247396" y="0"/>
                  </a:lnTo>
                  <a:lnTo>
                    <a:pt x="200228" y="8191"/>
                  </a:lnTo>
                  <a:lnTo>
                    <a:pt x="165557" y="30480"/>
                  </a:lnTo>
                  <a:lnTo>
                    <a:pt x="142240" y="63423"/>
                  </a:lnTo>
                  <a:lnTo>
                    <a:pt x="129082" y="103606"/>
                  </a:lnTo>
                  <a:lnTo>
                    <a:pt x="124968" y="147574"/>
                  </a:lnTo>
                  <a:lnTo>
                    <a:pt x="129082" y="191541"/>
                  </a:lnTo>
                  <a:lnTo>
                    <a:pt x="142227" y="231686"/>
                  </a:lnTo>
                  <a:lnTo>
                    <a:pt x="165557" y="264591"/>
                  </a:lnTo>
                  <a:lnTo>
                    <a:pt x="200228" y="286854"/>
                  </a:lnTo>
                  <a:lnTo>
                    <a:pt x="247396" y="295021"/>
                  </a:lnTo>
                  <a:lnTo>
                    <a:pt x="282778" y="289864"/>
                  </a:lnTo>
                  <a:lnTo>
                    <a:pt x="306832" y="277926"/>
                  </a:lnTo>
                  <a:lnTo>
                    <a:pt x="321259" y="264541"/>
                  </a:lnTo>
                  <a:lnTo>
                    <a:pt x="327787" y="255016"/>
                  </a:lnTo>
                  <a:lnTo>
                    <a:pt x="329057" y="255016"/>
                  </a:lnTo>
                  <a:lnTo>
                    <a:pt x="329057" y="288163"/>
                  </a:lnTo>
                  <a:lnTo>
                    <a:pt x="324040" y="315379"/>
                  </a:lnTo>
                  <a:lnTo>
                    <a:pt x="310502" y="335965"/>
                  </a:lnTo>
                  <a:lnTo>
                    <a:pt x="290690" y="349021"/>
                  </a:lnTo>
                  <a:lnTo>
                    <a:pt x="266827" y="353568"/>
                  </a:lnTo>
                  <a:lnTo>
                    <a:pt x="241401" y="349427"/>
                  </a:lnTo>
                  <a:lnTo>
                    <a:pt x="222465" y="339559"/>
                  </a:lnTo>
                  <a:lnTo>
                    <a:pt x="209677" y="327799"/>
                  </a:lnTo>
                  <a:lnTo>
                    <a:pt x="202692" y="318008"/>
                  </a:lnTo>
                  <a:lnTo>
                    <a:pt x="190690" y="324853"/>
                  </a:lnTo>
                  <a:lnTo>
                    <a:pt x="146177" y="351155"/>
                  </a:lnTo>
                  <a:lnTo>
                    <a:pt x="154990" y="366496"/>
                  </a:lnTo>
                  <a:lnTo>
                    <a:pt x="175488" y="388226"/>
                  </a:lnTo>
                  <a:lnTo>
                    <a:pt x="212166" y="407644"/>
                  </a:lnTo>
                  <a:lnTo>
                    <a:pt x="269494" y="416052"/>
                  </a:lnTo>
                  <a:lnTo>
                    <a:pt x="321665" y="408952"/>
                  </a:lnTo>
                  <a:lnTo>
                    <a:pt x="361924" y="388797"/>
                  </a:lnTo>
                  <a:lnTo>
                    <a:pt x="390423" y="357378"/>
                  </a:lnTo>
                  <a:lnTo>
                    <a:pt x="407390" y="316471"/>
                  </a:lnTo>
                  <a:lnTo>
                    <a:pt x="413004" y="267843"/>
                  </a:lnTo>
                  <a:lnTo>
                    <a:pt x="413004" y="255016"/>
                  </a:lnTo>
                  <a:lnTo>
                    <a:pt x="413004" y="232156"/>
                  </a:lnTo>
                  <a:lnTo>
                    <a:pt x="413004" y="62992"/>
                  </a:lnTo>
                  <a:lnTo>
                    <a:pt x="413004" y="40132"/>
                  </a:lnTo>
                  <a:lnTo>
                    <a:pt x="413004" y="8763"/>
                  </a:lnTo>
                  <a:close/>
                </a:path>
                <a:path w="1039495" h="416560">
                  <a:moveTo>
                    <a:pt x="1039368" y="115824"/>
                  </a:moveTo>
                  <a:lnTo>
                    <a:pt x="1031836" y="71691"/>
                  </a:lnTo>
                  <a:lnTo>
                    <a:pt x="1011199" y="38963"/>
                  </a:lnTo>
                  <a:lnTo>
                    <a:pt x="942314" y="4025"/>
                  </a:lnTo>
                  <a:lnTo>
                    <a:pt x="899922" y="0"/>
                  </a:lnTo>
                  <a:lnTo>
                    <a:pt x="850442" y="6680"/>
                  </a:lnTo>
                  <a:lnTo>
                    <a:pt x="816521" y="22123"/>
                  </a:lnTo>
                  <a:lnTo>
                    <a:pt x="795629" y="39497"/>
                  </a:lnTo>
                  <a:lnTo>
                    <a:pt x="785241" y="51943"/>
                  </a:lnTo>
                  <a:lnTo>
                    <a:pt x="833882" y="89154"/>
                  </a:lnTo>
                  <a:lnTo>
                    <a:pt x="841908" y="80098"/>
                  </a:lnTo>
                  <a:lnTo>
                    <a:pt x="854405" y="70548"/>
                  </a:lnTo>
                  <a:lnTo>
                    <a:pt x="871689" y="63017"/>
                  </a:lnTo>
                  <a:lnTo>
                    <a:pt x="894080" y="59944"/>
                  </a:lnTo>
                  <a:lnTo>
                    <a:pt x="919492" y="63284"/>
                  </a:lnTo>
                  <a:lnTo>
                    <a:pt x="938784" y="72961"/>
                  </a:lnTo>
                  <a:lnTo>
                    <a:pt x="951014" y="88557"/>
                  </a:lnTo>
                  <a:lnTo>
                    <a:pt x="955294" y="109601"/>
                  </a:lnTo>
                  <a:lnTo>
                    <a:pt x="955294" y="116078"/>
                  </a:lnTo>
                  <a:lnTo>
                    <a:pt x="955294" y="167005"/>
                  </a:lnTo>
                  <a:lnTo>
                    <a:pt x="955294" y="184658"/>
                  </a:lnTo>
                  <a:lnTo>
                    <a:pt x="952309" y="209283"/>
                  </a:lnTo>
                  <a:lnTo>
                    <a:pt x="943127" y="229895"/>
                  </a:lnTo>
                  <a:lnTo>
                    <a:pt x="927138" y="244043"/>
                  </a:lnTo>
                  <a:lnTo>
                    <a:pt x="903732" y="249301"/>
                  </a:lnTo>
                  <a:lnTo>
                    <a:pt x="886790" y="246583"/>
                  </a:lnTo>
                  <a:lnTo>
                    <a:pt x="873315" y="238747"/>
                  </a:lnTo>
                  <a:lnTo>
                    <a:pt x="864400" y="226326"/>
                  </a:lnTo>
                  <a:lnTo>
                    <a:pt x="861187" y="209804"/>
                  </a:lnTo>
                  <a:lnTo>
                    <a:pt x="864514" y="192786"/>
                  </a:lnTo>
                  <a:lnTo>
                    <a:pt x="875131" y="179222"/>
                  </a:lnTo>
                  <a:lnTo>
                    <a:pt x="894029" y="170256"/>
                  </a:lnTo>
                  <a:lnTo>
                    <a:pt x="922147" y="167005"/>
                  </a:lnTo>
                  <a:lnTo>
                    <a:pt x="955294" y="167005"/>
                  </a:lnTo>
                  <a:lnTo>
                    <a:pt x="955294" y="116078"/>
                  </a:lnTo>
                  <a:lnTo>
                    <a:pt x="918210" y="116078"/>
                  </a:lnTo>
                  <a:lnTo>
                    <a:pt x="860171" y="122047"/>
                  </a:lnTo>
                  <a:lnTo>
                    <a:pt x="815721" y="140208"/>
                  </a:lnTo>
                  <a:lnTo>
                    <a:pt x="787260" y="170942"/>
                  </a:lnTo>
                  <a:lnTo>
                    <a:pt x="777240" y="214630"/>
                  </a:lnTo>
                  <a:lnTo>
                    <a:pt x="784466" y="253555"/>
                  </a:lnTo>
                  <a:lnTo>
                    <a:pt x="804481" y="283438"/>
                  </a:lnTo>
                  <a:lnTo>
                    <a:pt x="834771" y="302615"/>
                  </a:lnTo>
                  <a:lnTo>
                    <a:pt x="872871" y="309372"/>
                  </a:lnTo>
                  <a:lnTo>
                    <a:pt x="910170" y="304279"/>
                  </a:lnTo>
                  <a:lnTo>
                    <a:pt x="935139" y="292633"/>
                  </a:lnTo>
                  <a:lnTo>
                    <a:pt x="949896" y="279857"/>
                  </a:lnTo>
                  <a:lnTo>
                    <a:pt x="956564" y="271399"/>
                  </a:lnTo>
                  <a:lnTo>
                    <a:pt x="957580" y="271399"/>
                  </a:lnTo>
                  <a:lnTo>
                    <a:pt x="957580" y="300609"/>
                  </a:lnTo>
                  <a:lnTo>
                    <a:pt x="1039368" y="300609"/>
                  </a:lnTo>
                  <a:lnTo>
                    <a:pt x="1039368" y="271399"/>
                  </a:lnTo>
                  <a:lnTo>
                    <a:pt x="1039368" y="249301"/>
                  </a:lnTo>
                  <a:lnTo>
                    <a:pt x="1039368" y="167005"/>
                  </a:lnTo>
                  <a:lnTo>
                    <a:pt x="1039368" y="115824"/>
                  </a:lnTo>
                  <a:close/>
                </a:path>
              </a:pathLst>
            </a:custGeom>
            <a:solidFill>
              <a:srgbClr val="F9F9F9"/>
            </a:solidFill>
          </p:spPr>
          <p:txBody>
            <a:bodyPr wrap="square" lIns="0" tIns="0" rIns="0" bIns="0" rtlCol="0"/>
            <a:lstStyle/>
            <a:p>
              <a:endParaRPr/>
            </a:p>
          </p:txBody>
        </p:sp>
        <p:pic>
          <p:nvPicPr>
            <p:cNvPr id="65" name="object 35">
              <a:extLst>
                <a:ext uri="{FF2B5EF4-FFF2-40B4-BE49-F238E27FC236}">
                  <a16:creationId xmlns:a16="http://schemas.microsoft.com/office/drawing/2014/main" id="{7C9F9DCA-E684-EDB2-FCE9-B45CC2D40C79}"/>
                </a:ext>
              </a:extLst>
            </p:cNvPr>
            <p:cNvPicPr/>
            <p:nvPr/>
          </p:nvPicPr>
          <p:blipFill>
            <a:blip r:embed="rId3" cstate="print"/>
            <a:stretch>
              <a:fillRect/>
            </a:stretch>
          </p:blipFill>
          <p:spPr>
            <a:xfrm>
              <a:off x="3869435" y="2194560"/>
              <a:ext cx="92963" cy="94487"/>
            </a:xfrm>
            <a:prstGeom prst="rect">
              <a:avLst/>
            </a:prstGeom>
          </p:spPr>
        </p:pic>
        <p:sp>
          <p:nvSpPr>
            <p:cNvPr id="66" name="object 36">
              <a:extLst>
                <a:ext uri="{FF2B5EF4-FFF2-40B4-BE49-F238E27FC236}">
                  <a16:creationId xmlns:a16="http://schemas.microsoft.com/office/drawing/2014/main" id="{E7E3EF5C-5B62-94A6-7EE8-07F1130E10A8}"/>
                </a:ext>
              </a:extLst>
            </p:cNvPr>
            <p:cNvSpPr/>
            <p:nvPr/>
          </p:nvSpPr>
          <p:spPr>
            <a:xfrm>
              <a:off x="4341876" y="2330195"/>
              <a:ext cx="86995" cy="292735"/>
            </a:xfrm>
            <a:custGeom>
              <a:avLst/>
              <a:gdLst/>
              <a:ahLst/>
              <a:cxnLst/>
              <a:rect l="l" t="t" r="r" b="b"/>
              <a:pathLst>
                <a:path w="86995" h="292735">
                  <a:moveTo>
                    <a:pt x="86869" y="0"/>
                  </a:moveTo>
                  <a:lnTo>
                    <a:pt x="0" y="0"/>
                  </a:lnTo>
                  <a:lnTo>
                    <a:pt x="0" y="292608"/>
                  </a:lnTo>
                  <a:lnTo>
                    <a:pt x="86869" y="292608"/>
                  </a:lnTo>
                  <a:lnTo>
                    <a:pt x="86869" y="0"/>
                  </a:lnTo>
                  <a:close/>
                </a:path>
              </a:pathLst>
            </a:custGeom>
            <a:solidFill>
              <a:srgbClr val="F9F9F9"/>
            </a:solidFill>
          </p:spPr>
          <p:txBody>
            <a:bodyPr wrap="square" lIns="0" tIns="0" rIns="0" bIns="0" rtlCol="0"/>
            <a:lstStyle/>
            <a:p>
              <a:endParaRPr/>
            </a:p>
          </p:txBody>
        </p:sp>
        <p:pic>
          <p:nvPicPr>
            <p:cNvPr id="67" name="object 37">
              <a:extLst>
                <a:ext uri="{FF2B5EF4-FFF2-40B4-BE49-F238E27FC236}">
                  <a16:creationId xmlns:a16="http://schemas.microsoft.com/office/drawing/2014/main" id="{E3F9AC8B-F34D-0767-EDA3-0D5655D4780C}"/>
                </a:ext>
              </a:extLst>
            </p:cNvPr>
            <p:cNvPicPr/>
            <p:nvPr/>
          </p:nvPicPr>
          <p:blipFill>
            <a:blip r:embed="rId4" cstate="print"/>
            <a:stretch>
              <a:fillRect/>
            </a:stretch>
          </p:blipFill>
          <p:spPr>
            <a:xfrm>
              <a:off x="4337303" y="2194560"/>
              <a:ext cx="94487" cy="94487"/>
            </a:xfrm>
            <a:prstGeom prst="rect">
              <a:avLst/>
            </a:prstGeom>
          </p:spPr>
        </p:pic>
        <p:pic>
          <p:nvPicPr>
            <p:cNvPr id="68" name="object 38">
              <a:extLst>
                <a:ext uri="{FF2B5EF4-FFF2-40B4-BE49-F238E27FC236}">
                  <a16:creationId xmlns:a16="http://schemas.microsoft.com/office/drawing/2014/main" id="{AB94D102-3238-3EFB-AFC7-E389EB3A7A3A}"/>
                </a:ext>
              </a:extLst>
            </p:cNvPr>
            <p:cNvPicPr/>
            <p:nvPr/>
          </p:nvPicPr>
          <p:blipFill>
            <a:blip r:embed="rId5" cstate="print"/>
            <a:stretch>
              <a:fillRect/>
            </a:stretch>
          </p:blipFill>
          <p:spPr>
            <a:xfrm>
              <a:off x="825092" y="2200655"/>
              <a:ext cx="182271" cy="182252"/>
            </a:xfrm>
            <a:prstGeom prst="rect">
              <a:avLst/>
            </a:prstGeom>
          </p:spPr>
        </p:pic>
        <p:sp>
          <p:nvSpPr>
            <p:cNvPr id="69" name="object 39">
              <a:extLst>
                <a:ext uri="{FF2B5EF4-FFF2-40B4-BE49-F238E27FC236}">
                  <a16:creationId xmlns:a16="http://schemas.microsoft.com/office/drawing/2014/main" id="{4D3F8A51-0D6C-0AA7-E3DA-DC88497F079A}"/>
                </a:ext>
              </a:extLst>
            </p:cNvPr>
            <p:cNvSpPr/>
            <p:nvPr/>
          </p:nvSpPr>
          <p:spPr>
            <a:xfrm>
              <a:off x="323684" y="2200655"/>
              <a:ext cx="786130" cy="421005"/>
            </a:xfrm>
            <a:custGeom>
              <a:avLst/>
              <a:gdLst/>
              <a:ahLst/>
              <a:cxnLst/>
              <a:rect l="l" t="t" r="r" b="b"/>
              <a:pathLst>
                <a:path w="786130" h="421005">
                  <a:moveTo>
                    <a:pt x="420027" y="279654"/>
                  </a:moveTo>
                  <a:lnTo>
                    <a:pt x="394093" y="240436"/>
                  </a:lnTo>
                  <a:lnTo>
                    <a:pt x="258064" y="236982"/>
                  </a:lnTo>
                  <a:lnTo>
                    <a:pt x="228904" y="230974"/>
                  </a:lnTo>
                  <a:lnTo>
                    <a:pt x="205066" y="214871"/>
                  </a:lnTo>
                  <a:lnTo>
                    <a:pt x="188937" y="191033"/>
                  </a:lnTo>
                  <a:lnTo>
                    <a:pt x="182968" y="162179"/>
                  </a:lnTo>
                  <a:lnTo>
                    <a:pt x="182892" y="42418"/>
                  </a:lnTo>
                  <a:lnTo>
                    <a:pt x="179552" y="25882"/>
                  </a:lnTo>
                  <a:lnTo>
                    <a:pt x="170446" y="12407"/>
                  </a:lnTo>
                  <a:lnTo>
                    <a:pt x="156959" y="3327"/>
                  </a:lnTo>
                  <a:lnTo>
                    <a:pt x="140462" y="0"/>
                  </a:lnTo>
                  <a:lnTo>
                    <a:pt x="42024" y="0"/>
                  </a:lnTo>
                  <a:lnTo>
                    <a:pt x="17551" y="7569"/>
                  </a:lnTo>
                  <a:lnTo>
                    <a:pt x="2717" y="26212"/>
                  </a:lnTo>
                  <a:lnTo>
                    <a:pt x="0" y="49885"/>
                  </a:lnTo>
                  <a:lnTo>
                    <a:pt x="11899" y="72517"/>
                  </a:lnTo>
                  <a:lnTo>
                    <a:pt x="100622" y="161290"/>
                  </a:lnTo>
                  <a:lnTo>
                    <a:pt x="101434" y="162179"/>
                  </a:lnTo>
                  <a:lnTo>
                    <a:pt x="347459" y="408051"/>
                  </a:lnTo>
                  <a:lnTo>
                    <a:pt x="370116" y="420001"/>
                  </a:lnTo>
                  <a:lnTo>
                    <a:pt x="393801" y="417296"/>
                  </a:lnTo>
                  <a:lnTo>
                    <a:pt x="412457" y="402450"/>
                  </a:lnTo>
                  <a:lnTo>
                    <a:pt x="420027" y="377952"/>
                  </a:lnTo>
                  <a:lnTo>
                    <a:pt x="420027" y="279654"/>
                  </a:lnTo>
                  <a:close/>
                </a:path>
                <a:path w="786130" h="421005">
                  <a:moveTo>
                    <a:pt x="683679" y="279654"/>
                  </a:moveTo>
                  <a:lnTo>
                    <a:pt x="657745" y="240436"/>
                  </a:lnTo>
                  <a:lnTo>
                    <a:pt x="521716" y="236982"/>
                  </a:lnTo>
                  <a:lnTo>
                    <a:pt x="492556" y="230974"/>
                  </a:lnTo>
                  <a:lnTo>
                    <a:pt x="468718" y="214871"/>
                  </a:lnTo>
                  <a:lnTo>
                    <a:pt x="452589" y="191033"/>
                  </a:lnTo>
                  <a:lnTo>
                    <a:pt x="446620" y="162179"/>
                  </a:lnTo>
                  <a:lnTo>
                    <a:pt x="446544" y="42418"/>
                  </a:lnTo>
                  <a:lnTo>
                    <a:pt x="443204" y="25882"/>
                  </a:lnTo>
                  <a:lnTo>
                    <a:pt x="434098" y="12407"/>
                  </a:lnTo>
                  <a:lnTo>
                    <a:pt x="420611" y="3327"/>
                  </a:lnTo>
                  <a:lnTo>
                    <a:pt x="404114" y="0"/>
                  </a:lnTo>
                  <a:lnTo>
                    <a:pt x="305676" y="0"/>
                  </a:lnTo>
                  <a:lnTo>
                    <a:pt x="281203" y="7569"/>
                  </a:lnTo>
                  <a:lnTo>
                    <a:pt x="266369" y="26212"/>
                  </a:lnTo>
                  <a:lnTo>
                    <a:pt x="263652" y="49885"/>
                  </a:lnTo>
                  <a:lnTo>
                    <a:pt x="275551" y="72517"/>
                  </a:lnTo>
                  <a:lnTo>
                    <a:pt x="364274" y="161290"/>
                  </a:lnTo>
                  <a:lnTo>
                    <a:pt x="365086" y="162179"/>
                  </a:lnTo>
                  <a:lnTo>
                    <a:pt x="611111" y="408051"/>
                  </a:lnTo>
                  <a:lnTo>
                    <a:pt x="633768" y="420001"/>
                  </a:lnTo>
                  <a:lnTo>
                    <a:pt x="657453" y="417296"/>
                  </a:lnTo>
                  <a:lnTo>
                    <a:pt x="676109" y="402450"/>
                  </a:lnTo>
                  <a:lnTo>
                    <a:pt x="683679" y="377952"/>
                  </a:lnTo>
                  <a:lnTo>
                    <a:pt x="683679" y="279654"/>
                  </a:lnTo>
                  <a:close/>
                </a:path>
                <a:path w="786130" h="421005">
                  <a:moveTo>
                    <a:pt x="747052" y="391668"/>
                  </a:moveTo>
                  <a:lnTo>
                    <a:pt x="723303" y="391668"/>
                  </a:lnTo>
                  <a:lnTo>
                    <a:pt x="723303" y="396240"/>
                  </a:lnTo>
                  <a:lnTo>
                    <a:pt x="732332" y="396240"/>
                  </a:lnTo>
                  <a:lnTo>
                    <a:pt x="732332" y="420624"/>
                  </a:lnTo>
                  <a:lnTo>
                    <a:pt x="738022" y="420624"/>
                  </a:lnTo>
                  <a:lnTo>
                    <a:pt x="738022" y="396240"/>
                  </a:lnTo>
                  <a:lnTo>
                    <a:pt x="747052" y="396240"/>
                  </a:lnTo>
                  <a:lnTo>
                    <a:pt x="747052" y="391668"/>
                  </a:lnTo>
                  <a:close/>
                </a:path>
                <a:path w="786130" h="421005">
                  <a:moveTo>
                    <a:pt x="785787" y="391668"/>
                  </a:moveTo>
                  <a:lnTo>
                    <a:pt x="777455" y="391668"/>
                  </a:lnTo>
                  <a:lnTo>
                    <a:pt x="769404" y="412115"/>
                  </a:lnTo>
                  <a:lnTo>
                    <a:pt x="764222" y="398018"/>
                  </a:lnTo>
                  <a:lnTo>
                    <a:pt x="761898" y="391668"/>
                  </a:lnTo>
                  <a:lnTo>
                    <a:pt x="753567" y="391668"/>
                  </a:lnTo>
                  <a:lnTo>
                    <a:pt x="753567" y="420497"/>
                  </a:lnTo>
                  <a:lnTo>
                    <a:pt x="758850" y="420497"/>
                  </a:lnTo>
                  <a:lnTo>
                    <a:pt x="758850" y="398018"/>
                  </a:lnTo>
                  <a:lnTo>
                    <a:pt x="758990" y="398018"/>
                  </a:lnTo>
                  <a:lnTo>
                    <a:pt x="767740" y="420497"/>
                  </a:lnTo>
                  <a:lnTo>
                    <a:pt x="771626" y="420497"/>
                  </a:lnTo>
                  <a:lnTo>
                    <a:pt x="774877" y="412115"/>
                  </a:lnTo>
                  <a:lnTo>
                    <a:pt x="780376" y="398018"/>
                  </a:lnTo>
                  <a:lnTo>
                    <a:pt x="780516" y="398018"/>
                  </a:lnTo>
                  <a:lnTo>
                    <a:pt x="780516" y="420497"/>
                  </a:lnTo>
                  <a:lnTo>
                    <a:pt x="785787" y="420497"/>
                  </a:lnTo>
                  <a:lnTo>
                    <a:pt x="785787" y="398018"/>
                  </a:lnTo>
                  <a:lnTo>
                    <a:pt x="785787" y="391668"/>
                  </a:lnTo>
                  <a:close/>
                </a:path>
              </a:pathLst>
            </a:custGeom>
            <a:solidFill>
              <a:srgbClr val="F9F9F9"/>
            </a:solidFill>
          </p:spPr>
          <p:txBody>
            <a:bodyPr wrap="square" lIns="0" tIns="0" rIns="0" bIns="0" rtlCol="0"/>
            <a:lstStyle/>
            <a:p>
              <a:endParaRPr/>
            </a:p>
          </p:txBody>
        </p:sp>
      </p:grpSp>
      <p:sp>
        <p:nvSpPr>
          <p:cNvPr id="70" name="Text Placeholder 14">
            <a:extLst>
              <a:ext uri="{FF2B5EF4-FFF2-40B4-BE49-F238E27FC236}">
                <a16:creationId xmlns:a16="http://schemas.microsoft.com/office/drawing/2014/main" id="{6E0FA264-AFCA-4298-079B-2D41A6D883A1}"/>
              </a:ext>
            </a:extLst>
          </p:cNvPr>
          <p:cNvSpPr>
            <a:spLocks noGrp="1"/>
          </p:cNvSpPr>
          <p:nvPr>
            <p:ph type="body" sz="quarter" idx="12" hasCustomPrompt="1"/>
          </p:nvPr>
        </p:nvSpPr>
        <p:spPr>
          <a:xfrm>
            <a:off x="274638" y="4672362"/>
            <a:ext cx="5120322" cy="276999"/>
          </a:xfrm>
        </p:spPr>
        <p:txBody>
          <a:bodyPr wrap="square" lIns="45720" tIns="0" rIns="0" bIns="0" anchor="ctr">
            <a:spAutoFit/>
          </a:bodyPr>
          <a:lstStyle>
            <a:lvl1pPr marL="0" indent="0">
              <a:spcAft>
                <a:spcPts val="0"/>
              </a:spcAft>
              <a:buNone/>
              <a:defRPr sz="1800" b="0" i="0">
                <a:solidFill>
                  <a:schemeClr val="bg1"/>
                </a:solidFill>
                <a:latin typeface="+mn-lt"/>
              </a:defRPr>
            </a:lvl1pPr>
            <a:lvl2pPr marL="457200" indent="0">
              <a:buNone/>
              <a:defRPr sz="2400">
                <a:solidFill>
                  <a:schemeClr val="bg1"/>
                </a:solidFill>
              </a:defRPr>
            </a:lvl2pPr>
            <a:lvl3pPr marL="914400" indent="0">
              <a:buNone/>
              <a:defRPr sz="2400">
                <a:solidFill>
                  <a:schemeClr val="bg1"/>
                </a:solidFill>
              </a:defRPr>
            </a:lvl3pPr>
            <a:lvl4pPr marL="1371600" indent="0">
              <a:buNone/>
              <a:defRPr sz="2400">
                <a:solidFill>
                  <a:schemeClr val="bg1"/>
                </a:solidFill>
              </a:defRPr>
            </a:lvl4pPr>
            <a:lvl5pPr marL="1828800" indent="0">
              <a:buNone/>
              <a:defRPr sz="2400">
                <a:solidFill>
                  <a:schemeClr val="bg1"/>
                </a:solidFill>
              </a:defRPr>
            </a:lvl5pPr>
          </a:lstStyle>
          <a:p>
            <a:pPr lvl="0"/>
            <a:r>
              <a:rPr lang="en-US" dirty="0"/>
              <a:t>Click to Date</a:t>
            </a:r>
          </a:p>
        </p:txBody>
      </p:sp>
    </p:spTree>
    <p:extLst>
      <p:ext uri="{BB962C8B-B14F-4D97-AF65-F5344CB8AC3E}">
        <p14:creationId xmlns:p14="http://schemas.microsoft.com/office/powerpoint/2010/main" val="4293356567"/>
      </p:ext>
    </p:extLst>
  </p:cSld>
  <p:clrMapOvr>
    <a:masterClrMapping/>
  </p:clrMapOvr>
  <p:transition>
    <p:fade/>
  </p:transition>
  <p:hf hdr="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and Subtitle Black">
    <p:bg>
      <p:bgPr>
        <a:solidFill>
          <a:schemeClr val="tx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6591D91-3F4D-B347-AE2C-3F2CEF980E9D}"/>
              </a:ext>
            </a:extLst>
          </p:cNvPr>
          <p:cNvSpPr/>
          <p:nvPr/>
        </p:nvSpPr>
        <p:spPr>
          <a:xfrm>
            <a:off x="0" y="-1"/>
            <a:ext cx="12192000" cy="1968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3EA8159-8BDE-9647-AC95-5B2B3E483807}"/>
              </a:ext>
            </a:extLst>
          </p:cNvPr>
          <p:cNvSpPr>
            <a:spLocks noGrp="1"/>
          </p:cNvSpPr>
          <p:nvPr>
            <p:ph type="title" hasCustomPrompt="1"/>
          </p:nvPr>
        </p:nvSpPr>
        <p:spPr>
          <a:xfrm>
            <a:off x="274638" y="719720"/>
            <a:ext cx="11647487" cy="615027"/>
          </a:xfrm>
        </p:spPr>
        <p:txBody>
          <a:bodyPr/>
          <a:lstStyle>
            <a:lvl1pPr>
              <a:defRPr b="1">
                <a:solidFill>
                  <a:schemeClr val="tx1"/>
                </a:solidFill>
                <a:latin typeface="+mj-lt"/>
              </a:defRPr>
            </a:lvl1pPr>
          </a:lstStyle>
          <a:p>
            <a:r>
              <a:rPr lang="en-US"/>
              <a:t>Click to Add Title</a:t>
            </a:r>
          </a:p>
        </p:txBody>
      </p:sp>
      <p:sp>
        <p:nvSpPr>
          <p:cNvPr id="4" name="Text Placeholder 13">
            <a:extLst>
              <a:ext uri="{FF2B5EF4-FFF2-40B4-BE49-F238E27FC236}">
                <a16:creationId xmlns:a16="http://schemas.microsoft.com/office/drawing/2014/main" id="{55FB2E66-D4A6-7C4B-91A9-C6556915485C}"/>
              </a:ext>
            </a:extLst>
          </p:cNvPr>
          <p:cNvSpPr>
            <a:spLocks noGrp="1"/>
          </p:cNvSpPr>
          <p:nvPr>
            <p:ph type="body" sz="quarter" idx="12" hasCustomPrompt="1"/>
          </p:nvPr>
        </p:nvSpPr>
        <p:spPr>
          <a:xfrm>
            <a:off x="274638" y="1336803"/>
            <a:ext cx="11647488" cy="409763"/>
          </a:xfrm>
        </p:spPr>
        <p:txBody>
          <a:bodyPr lIns="9144" bIns="0"/>
          <a:lstStyle>
            <a:lvl1pPr marL="0" indent="0">
              <a:lnSpc>
                <a:spcPct val="90000"/>
              </a:lnSpc>
              <a:buNone/>
              <a:defRPr sz="2400" b="1" spc="-100" baseline="0">
                <a:solidFill>
                  <a:schemeClr val="tx1"/>
                </a:solidFill>
                <a:latin typeface="+mj-lt"/>
              </a:defRPr>
            </a:lvl1pPr>
            <a:lvl2pPr marL="274320" indent="0">
              <a:buNone/>
              <a:defRPr/>
            </a:lvl2pPr>
            <a:lvl3pPr marL="914400" indent="0">
              <a:buNone/>
              <a:defRPr/>
            </a:lvl3pPr>
            <a:lvl4pPr marL="1371600" indent="0">
              <a:buNone/>
              <a:defRPr/>
            </a:lvl4pPr>
            <a:lvl5pPr marL="1828800" indent="0">
              <a:buNone/>
              <a:defRPr/>
            </a:lvl5pPr>
          </a:lstStyle>
          <a:p>
            <a:pPr lvl="0"/>
            <a:r>
              <a:rPr lang="en-US"/>
              <a:t>Click to Add Subtitle</a:t>
            </a:r>
          </a:p>
        </p:txBody>
      </p:sp>
      <p:cxnSp>
        <p:nvCxnSpPr>
          <p:cNvPr id="6" name="Straight Connector 5">
            <a:extLst>
              <a:ext uri="{FF2B5EF4-FFF2-40B4-BE49-F238E27FC236}">
                <a16:creationId xmlns:a16="http://schemas.microsoft.com/office/drawing/2014/main" id="{D2087AFE-FF5C-8142-ACD9-5F5FAAD78E1B}"/>
              </a:ext>
            </a:extLst>
          </p:cNvPr>
          <p:cNvCxnSpPr/>
          <p:nvPr/>
        </p:nvCxnSpPr>
        <p:spPr>
          <a:xfrm>
            <a:off x="0" y="36576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115F4446-5921-C54D-8A82-C927842323BC}"/>
              </a:ext>
            </a:extLst>
          </p:cNvPr>
          <p:cNvSpPr>
            <a:spLocks noGrp="1"/>
          </p:cNvSpPr>
          <p:nvPr>
            <p:ph type="sldNum" sz="quarter" idx="4"/>
          </p:nvPr>
        </p:nvSpPr>
        <p:spPr>
          <a:xfrm>
            <a:off x="274638" y="133411"/>
            <a:ext cx="211271" cy="120013"/>
          </a:xfrm>
          <a:prstGeom prst="rect">
            <a:avLst/>
          </a:prstGeom>
        </p:spPr>
        <p:txBody>
          <a:bodyPr vert="horz" lIns="0" tIns="0" rIns="0" bIns="0" rtlCol="0" anchor="ctr"/>
          <a:lstStyle>
            <a:lvl1pPr algn="l">
              <a:defRPr sz="500" b="1" i="0" spc="50" baseline="0">
                <a:solidFill>
                  <a:schemeClr val="tx1"/>
                </a:solidFill>
                <a:latin typeface="+mn-lt"/>
                <a:cs typeface="Arial" panose="020B0604020202020204" pitchFamily="34" charset="0"/>
              </a:defRPr>
            </a:lvl1pPr>
          </a:lstStyle>
          <a:p>
            <a:fld id="{4571BA12-316B-0A40-BB3D-1A8CDD33E9E5}" type="slidenum">
              <a:rPr lang="en-US" smtClean="0"/>
              <a:pPr/>
              <a:t>‹#›</a:t>
            </a:fld>
            <a:endParaRPr lang="en-US"/>
          </a:p>
        </p:txBody>
      </p:sp>
      <p:sp>
        <p:nvSpPr>
          <p:cNvPr id="8" name="SUHO LIMITED RELEASE…">
            <a:extLst>
              <a:ext uri="{FF2B5EF4-FFF2-40B4-BE49-F238E27FC236}">
                <a16:creationId xmlns:a16="http://schemas.microsoft.com/office/drawing/2014/main" id="{089ABED4-B2DF-B242-8E41-5AABF3122FDC}"/>
              </a:ext>
            </a:extLst>
          </p:cNvPr>
          <p:cNvSpPr txBox="1"/>
          <p:nvPr/>
        </p:nvSpPr>
        <p:spPr>
          <a:xfrm>
            <a:off x="6292066" y="141350"/>
            <a:ext cx="5625296" cy="9150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ctr">
            <a:spAutoFit/>
          </a:bodyPr>
          <a:lstStyle/>
          <a:p>
            <a:pPr algn="r">
              <a:lnSpc>
                <a:spcPts val="750"/>
              </a:lnSpc>
              <a:defRPr sz="1500" b="1" cap="all">
                <a:solidFill>
                  <a:srgbClr val="9F9F94"/>
                </a:solidFill>
              </a:defRPr>
            </a:pPr>
            <a:r>
              <a:rPr lang="en-US" sz="500" b="1" spc="50" baseline="0">
                <a:solidFill>
                  <a:schemeClr val="tx1"/>
                </a:solidFill>
                <a:latin typeface="+mn-lt"/>
                <a:ea typeface="Helvetica Neue" panose="02000503000000020004" pitchFamily="2" charset="0"/>
                <a:cs typeface="Arial" panose="020B0604020202020204" pitchFamily="34" charset="0"/>
              </a:rPr>
              <a:t>© 2022 Western Digital Corporation or its affiliates  All rights reserved</a:t>
            </a:r>
          </a:p>
        </p:txBody>
      </p:sp>
      <p:sp>
        <p:nvSpPr>
          <p:cNvPr id="9" name="SUHO LIMITED RELEASE…">
            <a:extLst>
              <a:ext uri="{FF2B5EF4-FFF2-40B4-BE49-F238E27FC236}">
                <a16:creationId xmlns:a16="http://schemas.microsoft.com/office/drawing/2014/main" id="{7AD33A5E-2435-AA40-9E59-38DFC78C649F}"/>
              </a:ext>
            </a:extLst>
          </p:cNvPr>
          <p:cNvSpPr txBox="1"/>
          <p:nvPr/>
        </p:nvSpPr>
        <p:spPr>
          <a:xfrm>
            <a:off x="542925" y="141286"/>
            <a:ext cx="1515387" cy="9156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ctr">
            <a:spAutoFit/>
          </a:bodyPr>
          <a:lstStyle/>
          <a:p>
            <a:pPr algn="l">
              <a:lnSpc>
                <a:spcPts val="750"/>
              </a:lnSpc>
              <a:defRPr sz="1500" b="1" cap="all">
                <a:solidFill>
                  <a:srgbClr val="9F9F94"/>
                </a:solidFill>
              </a:defRPr>
            </a:pPr>
            <a:r>
              <a:rPr lang="en-US" sz="500" b="1" spc="50" baseline="0">
                <a:solidFill>
                  <a:schemeClr val="tx1"/>
                </a:solidFill>
                <a:latin typeface="+mn-lt"/>
                <a:ea typeface="Helvetica Neue" panose="02000503000000020004" pitchFamily="2" charset="0"/>
                <a:cs typeface="Arial" panose="020B0604020202020204" pitchFamily="34" charset="0"/>
              </a:rPr>
              <a:t>WESTERN DIGITAL CONFIDENTIAL</a:t>
            </a:r>
          </a:p>
        </p:txBody>
      </p:sp>
    </p:spTree>
    <p:extLst>
      <p:ext uri="{BB962C8B-B14F-4D97-AF65-F5344CB8AC3E}">
        <p14:creationId xmlns:p14="http://schemas.microsoft.com/office/powerpoint/2010/main" val="180642981"/>
      </p:ext>
    </p:extLst>
  </p:cSld>
  <p:clrMapOvr>
    <a:masterClrMapping/>
  </p:clrMapOvr>
  <p:transition>
    <p:fade/>
  </p:transition>
  <p:hf hdr="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Subtitle White">
    <p:bg>
      <p:bgPr>
        <a:solidFill>
          <a:schemeClr val="tx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6591D91-3F4D-B347-AE2C-3F2CEF980E9D}"/>
              </a:ext>
            </a:extLst>
          </p:cNvPr>
          <p:cNvSpPr/>
          <p:nvPr/>
        </p:nvSpPr>
        <p:spPr>
          <a:xfrm>
            <a:off x="0" y="1968510"/>
            <a:ext cx="12192000" cy="488949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3EA8159-8BDE-9647-AC95-5B2B3E483807}"/>
              </a:ext>
            </a:extLst>
          </p:cNvPr>
          <p:cNvSpPr>
            <a:spLocks noGrp="1"/>
          </p:cNvSpPr>
          <p:nvPr>
            <p:ph type="title" hasCustomPrompt="1"/>
          </p:nvPr>
        </p:nvSpPr>
        <p:spPr>
          <a:xfrm>
            <a:off x="274638" y="719720"/>
            <a:ext cx="11647487" cy="615027"/>
          </a:xfrm>
        </p:spPr>
        <p:txBody>
          <a:bodyPr/>
          <a:lstStyle>
            <a:lvl1pPr>
              <a:defRPr b="1">
                <a:solidFill>
                  <a:schemeClr val="bg1"/>
                </a:solidFill>
                <a:latin typeface="+mj-lt"/>
              </a:defRPr>
            </a:lvl1pPr>
          </a:lstStyle>
          <a:p>
            <a:r>
              <a:rPr lang="en-US"/>
              <a:t>Click to Add Title</a:t>
            </a:r>
          </a:p>
        </p:txBody>
      </p:sp>
      <p:sp>
        <p:nvSpPr>
          <p:cNvPr id="4" name="Text Placeholder 13">
            <a:extLst>
              <a:ext uri="{FF2B5EF4-FFF2-40B4-BE49-F238E27FC236}">
                <a16:creationId xmlns:a16="http://schemas.microsoft.com/office/drawing/2014/main" id="{55FB2E66-D4A6-7C4B-91A9-C6556915485C}"/>
              </a:ext>
            </a:extLst>
          </p:cNvPr>
          <p:cNvSpPr>
            <a:spLocks noGrp="1"/>
          </p:cNvSpPr>
          <p:nvPr>
            <p:ph type="body" sz="quarter" idx="12" hasCustomPrompt="1"/>
          </p:nvPr>
        </p:nvSpPr>
        <p:spPr>
          <a:xfrm>
            <a:off x="274638" y="1336803"/>
            <a:ext cx="11647488" cy="409763"/>
          </a:xfrm>
        </p:spPr>
        <p:txBody>
          <a:bodyPr lIns="9144" bIns="0"/>
          <a:lstStyle>
            <a:lvl1pPr marL="0" indent="0">
              <a:lnSpc>
                <a:spcPct val="90000"/>
              </a:lnSpc>
              <a:buNone/>
              <a:defRPr sz="2400" b="1" spc="-100" baseline="0">
                <a:solidFill>
                  <a:schemeClr val="bg1"/>
                </a:solidFill>
                <a:latin typeface="+mj-lt"/>
              </a:defRPr>
            </a:lvl1pPr>
            <a:lvl2pPr marL="274320" indent="0">
              <a:buNone/>
              <a:defRPr/>
            </a:lvl2pPr>
            <a:lvl3pPr marL="914400" indent="0">
              <a:buNone/>
              <a:defRPr/>
            </a:lvl3pPr>
            <a:lvl4pPr marL="1371600" indent="0">
              <a:buNone/>
              <a:defRPr/>
            </a:lvl4pPr>
            <a:lvl5pPr marL="1828800" indent="0">
              <a:buNone/>
              <a:defRPr/>
            </a:lvl5pPr>
          </a:lstStyle>
          <a:p>
            <a:pPr lvl="0"/>
            <a:r>
              <a:rPr lang="en-US"/>
              <a:t>Click to Add Subtitle</a:t>
            </a:r>
          </a:p>
        </p:txBody>
      </p:sp>
      <p:cxnSp>
        <p:nvCxnSpPr>
          <p:cNvPr id="6" name="Straight Connector 5">
            <a:extLst>
              <a:ext uri="{FF2B5EF4-FFF2-40B4-BE49-F238E27FC236}">
                <a16:creationId xmlns:a16="http://schemas.microsoft.com/office/drawing/2014/main" id="{D2087AFE-FF5C-8142-ACD9-5F5FAAD78E1B}"/>
              </a:ext>
            </a:extLst>
          </p:cNvPr>
          <p:cNvCxnSpPr/>
          <p:nvPr/>
        </p:nvCxnSpPr>
        <p:spPr>
          <a:xfrm>
            <a:off x="0" y="365760"/>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432F6B9F-42F3-5544-A181-CD7F37AEA563}"/>
              </a:ext>
            </a:extLst>
          </p:cNvPr>
          <p:cNvSpPr>
            <a:spLocks noGrp="1"/>
          </p:cNvSpPr>
          <p:nvPr>
            <p:ph type="sldNum" sz="quarter" idx="4"/>
          </p:nvPr>
        </p:nvSpPr>
        <p:spPr>
          <a:xfrm>
            <a:off x="274638" y="133411"/>
            <a:ext cx="211271" cy="120013"/>
          </a:xfrm>
          <a:prstGeom prst="rect">
            <a:avLst/>
          </a:prstGeom>
        </p:spPr>
        <p:txBody>
          <a:bodyPr vert="horz" lIns="0" tIns="0" rIns="0" bIns="0" rtlCol="0" anchor="ctr"/>
          <a:lstStyle>
            <a:lvl1pPr algn="l">
              <a:defRPr sz="500" b="1" i="0" spc="50" baseline="0">
                <a:solidFill>
                  <a:schemeClr val="bg1"/>
                </a:solidFill>
                <a:latin typeface="+mn-lt"/>
                <a:cs typeface="Arial" panose="020B0604020202020204" pitchFamily="34" charset="0"/>
              </a:defRPr>
            </a:lvl1pPr>
          </a:lstStyle>
          <a:p>
            <a:fld id="{4571BA12-316B-0A40-BB3D-1A8CDD33E9E5}" type="slidenum">
              <a:rPr lang="en-US" smtClean="0"/>
              <a:pPr/>
              <a:t>‹#›</a:t>
            </a:fld>
            <a:endParaRPr lang="en-US"/>
          </a:p>
        </p:txBody>
      </p:sp>
      <p:sp>
        <p:nvSpPr>
          <p:cNvPr id="11" name="SUHO LIMITED RELEASE…">
            <a:extLst>
              <a:ext uri="{FF2B5EF4-FFF2-40B4-BE49-F238E27FC236}">
                <a16:creationId xmlns:a16="http://schemas.microsoft.com/office/drawing/2014/main" id="{FC751C3F-04DF-1449-9060-1DDD96A266AB}"/>
              </a:ext>
            </a:extLst>
          </p:cNvPr>
          <p:cNvSpPr txBox="1"/>
          <p:nvPr/>
        </p:nvSpPr>
        <p:spPr>
          <a:xfrm>
            <a:off x="6292066" y="141350"/>
            <a:ext cx="5625296" cy="9150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ctr">
            <a:spAutoFit/>
          </a:bodyPr>
          <a:lstStyle/>
          <a:p>
            <a:pPr algn="r">
              <a:lnSpc>
                <a:spcPts val="750"/>
              </a:lnSpc>
              <a:defRPr sz="1500" b="1" cap="all">
                <a:solidFill>
                  <a:srgbClr val="9F9F94"/>
                </a:solidFill>
              </a:defRPr>
            </a:pPr>
            <a:r>
              <a:rPr lang="en-US" sz="500" b="1" spc="50" baseline="0">
                <a:solidFill>
                  <a:schemeClr val="bg1"/>
                </a:solidFill>
                <a:latin typeface="+mn-lt"/>
                <a:ea typeface="Helvetica Neue" panose="02000503000000020004" pitchFamily="2" charset="0"/>
                <a:cs typeface="Arial" panose="020B0604020202020204" pitchFamily="34" charset="0"/>
              </a:rPr>
              <a:t>© 2022 Western Digital Corporation or its affiliates  All rights reserved</a:t>
            </a:r>
          </a:p>
        </p:txBody>
      </p:sp>
      <p:sp>
        <p:nvSpPr>
          <p:cNvPr id="13" name="SUHO LIMITED RELEASE…">
            <a:extLst>
              <a:ext uri="{FF2B5EF4-FFF2-40B4-BE49-F238E27FC236}">
                <a16:creationId xmlns:a16="http://schemas.microsoft.com/office/drawing/2014/main" id="{04EA33A1-7701-9849-954B-04B978BDB7DC}"/>
              </a:ext>
            </a:extLst>
          </p:cNvPr>
          <p:cNvSpPr txBox="1"/>
          <p:nvPr/>
        </p:nvSpPr>
        <p:spPr>
          <a:xfrm>
            <a:off x="542925" y="141286"/>
            <a:ext cx="1515387" cy="9156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ctr">
            <a:spAutoFit/>
          </a:bodyPr>
          <a:lstStyle/>
          <a:p>
            <a:pPr algn="l">
              <a:lnSpc>
                <a:spcPts val="750"/>
              </a:lnSpc>
              <a:defRPr sz="1500" b="1" cap="all">
                <a:solidFill>
                  <a:srgbClr val="9F9F94"/>
                </a:solidFill>
              </a:defRPr>
            </a:pPr>
            <a:r>
              <a:rPr lang="en-US" sz="500" b="1" spc="50" baseline="0">
                <a:solidFill>
                  <a:schemeClr val="bg1"/>
                </a:solidFill>
                <a:latin typeface="+mn-lt"/>
                <a:ea typeface="Helvetica Neue" panose="02000503000000020004" pitchFamily="2" charset="0"/>
                <a:cs typeface="Arial" panose="020B0604020202020204" pitchFamily="34" charset="0"/>
              </a:rPr>
              <a:t>WESTERN DIGITAL CONFIDENTIAL</a:t>
            </a:r>
          </a:p>
        </p:txBody>
      </p:sp>
    </p:spTree>
    <p:extLst>
      <p:ext uri="{BB962C8B-B14F-4D97-AF65-F5344CB8AC3E}">
        <p14:creationId xmlns:p14="http://schemas.microsoft.com/office/powerpoint/2010/main" val="1767840870"/>
      </p:ext>
    </p:extLst>
  </p:cSld>
  <p:clrMapOvr>
    <a:masterClrMapping/>
  </p:clrMapOvr>
  <p:transition>
    <p:fade/>
  </p:transition>
  <p:hf hdr="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and Subtitle Black">
    <p:bg>
      <p:bgPr>
        <a:solidFill>
          <a:schemeClr val="tx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6591D91-3F4D-B347-AE2C-3F2CEF980E9D}"/>
              </a:ext>
            </a:extLst>
          </p:cNvPr>
          <p:cNvSpPr/>
          <p:nvPr/>
        </p:nvSpPr>
        <p:spPr>
          <a:xfrm>
            <a:off x="0" y="-1"/>
            <a:ext cx="12192000" cy="1968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3EA8159-8BDE-9647-AC95-5B2B3E483807}"/>
              </a:ext>
            </a:extLst>
          </p:cNvPr>
          <p:cNvSpPr>
            <a:spLocks noGrp="1"/>
          </p:cNvSpPr>
          <p:nvPr>
            <p:ph type="title" hasCustomPrompt="1"/>
          </p:nvPr>
        </p:nvSpPr>
        <p:spPr>
          <a:xfrm>
            <a:off x="274638" y="719720"/>
            <a:ext cx="11647487" cy="615027"/>
          </a:xfrm>
        </p:spPr>
        <p:txBody>
          <a:bodyPr/>
          <a:lstStyle>
            <a:lvl1pPr>
              <a:defRPr b="1">
                <a:solidFill>
                  <a:schemeClr val="tx1"/>
                </a:solidFill>
                <a:latin typeface="+mj-lt"/>
              </a:defRPr>
            </a:lvl1pPr>
          </a:lstStyle>
          <a:p>
            <a:r>
              <a:rPr lang="en-US"/>
              <a:t>Click to Add Title</a:t>
            </a:r>
          </a:p>
        </p:txBody>
      </p:sp>
      <p:sp>
        <p:nvSpPr>
          <p:cNvPr id="4" name="Text Placeholder 13">
            <a:extLst>
              <a:ext uri="{FF2B5EF4-FFF2-40B4-BE49-F238E27FC236}">
                <a16:creationId xmlns:a16="http://schemas.microsoft.com/office/drawing/2014/main" id="{55FB2E66-D4A6-7C4B-91A9-C6556915485C}"/>
              </a:ext>
            </a:extLst>
          </p:cNvPr>
          <p:cNvSpPr>
            <a:spLocks noGrp="1"/>
          </p:cNvSpPr>
          <p:nvPr>
            <p:ph type="body" sz="quarter" idx="12" hasCustomPrompt="1"/>
          </p:nvPr>
        </p:nvSpPr>
        <p:spPr>
          <a:xfrm>
            <a:off x="274638" y="1336803"/>
            <a:ext cx="11647488" cy="409763"/>
          </a:xfrm>
        </p:spPr>
        <p:txBody>
          <a:bodyPr lIns="9144" bIns="0"/>
          <a:lstStyle>
            <a:lvl1pPr marL="0" indent="0">
              <a:lnSpc>
                <a:spcPct val="90000"/>
              </a:lnSpc>
              <a:buNone/>
              <a:defRPr sz="2400" b="1" spc="-100" baseline="0">
                <a:solidFill>
                  <a:schemeClr val="tx1"/>
                </a:solidFill>
                <a:latin typeface="+mj-lt"/>
              </a:defRPr>
            </a:lvl1pPr>
            <a:lvl2pPr marL="274320" indent="0">
              <a:buNone/>
              <a:defRPr/>
            </a:lvl2pPr>
            <a:lvl3pPr marL="914400" indent="0">
              <a:buNone/>
              <a:defRPr/>
            </a:lvl3pPr>
            <a:lvl4pPr marL="1371600" indent="0">
              <a:buNone/>
              <a:defRPr/>
            </a:lvl4pPr>
            <a:lvl5pPr marL="1828800" indent="0">
              <a:buNone/>
              <a:defRPr/>
            </a:lvl5pPr>
          </a:lstStyle>
          <a:p>
            <a:pPr lvl="0"/>
            <a:r>
              <a:rPr lang="en-US"/>
              <a:t>Click to Add Subtitle</a:t>
            </a:r>
          </a:p>
        </p:txBody>
      </p:sp>
      <p:cxnSp>
        <p:nvCxnSpPr>
          <p:cNvPr id="6" name="Straight Connector 5">
            <a:extLst>
              <a:ext uri="{FF2B5EF4-FFF2-40B4-BE49-F238E27FC236}">
                <a16:creationId xmlns:a16="http://schemas.microsoft.com/office/drawing/2014/main" id="{D2087AFE-FF5C-8142-ACD9-5F5FAAD78E1B}"/>
              </a:ext>
            </a:extLst>
          </p:cNvPr>
          <p:cNvCxnSpPr/>
          <p:nvPr/>
        </p:nvCxnSpPr>
        <p:spPr>
          <a:xfrm>
            <a:off x="0" y="36576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115F4446-5921-C54D-8A82-C927842323BC}"/>
              </a:ext>
            </a:extLst>
          </p:cNvPr>
          <p:cNvSpPr>
            <a:spLocks noGrp="1"/>
          </p:cNvSpPr>
          <p:nvPr>
            <p:ph type="sldNum" sz="quarter" idx="4"/>
          </p:nvPr>
        </p:nvSpPr>
        <p:spPr>
          <a:xfrm>
            <a:off x="274638" y="133411"/>
            <a:ext cx="211271" cy="120013"/>
          </a:xfrm>
          <a:prstGeom prst="rect">
            <a:avLst/>
          </a:prstGeom>
        </p:spPr>
        <p:txBody>
          <a:bodyPr vert="horz" lIns="0" tIns="0" rIns="0" bIns="0" rtlCol="0" anchor="ctr"/>
          <a:lstStyle>
            <a:lvl1pPr algn="l">
              <a:defRPr sz="500" b="1" i="0" spc="50" baseline="0">
                <a:solidFill>
                  <a:schemeClr val="tx1"/>
                </a:solidFill>
                <a:latin typeface="+mn-lt"/>
                <a:cs typeface="Arial" panose="020B0604020202020204" pitchFamily="34" charset="0"/>
              </a:defRPr>
            </a:lvl1pPr>
          </a:lstStyle>
          <a:p>
            <a:fld id="{4571BA12-316B-0A40-BB3D-1A8CDD33E9E5}" type="slidenum">
              <a:rPr lang="en-US" smtClean="0"/>
              <a:pPr/>
              <a:t>‹#›</a:t>
            </a:fld>
            <a:endParaRPr lang="en-US"/>
          </a:p>
        </p:txBody>
      </p:sp>
      <p:sp>
        <p:nvSpPr>
          <p:cNvPr id="8" name="SUHO LIMITED RELEASE…">
            <a:extLst>
              <a:ext uri="{FF2B5EF4-FFF2-40B4-BE49-F238E27FC236}">
                <a16:creationId xmlns:a16="http://schemas.microsoft.com/office/drawing/2014/main" id="{089ABED4-B2DF-B242-8E41-5AABF3122FDC}"/>
              </a:ext>
            </a:extLst>
          </p:cNvPr>
          <p:cNvSpPr txBox="1"/>
          <p:nvPr/>
        </p:nvSpPr>
        <p:spPr>
          <a:xfrm>
            <a:off x="6292066" y="141350"/>
            <a:ext cx="5625296" cy="9150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ctr">
            <a:spAutoFit/>
          </a:bodyPr>
          <a:lstStyle/>
          <a:p>
            <a:pPr algn="r">
              <a:lnSpc>
                <a:spcPts val="750"/>
              </a:lnSpc>
              <a:defRPr sz="1500" b="1" cap="all">
                <a:solidFill>
                  <a:srgbClr val="9F9F94"/>
                </a:solidFill>
              </a:defRPr>
            </a:pPr>
            <a:r>
              <a:rPr lang="en-US" sz="500" b="1" spc="50" baseline="0">
                <a:solidFill>
                  <a:schemeClr val="tx1"/>
                </a:solidFill>
                <a:latin typeface="+mn-lt"/>
                <a:ea typeface="Helvetica Neue" panose="02000503000000020004" pitchFamily="2" charset="0"/>
                <a:cs typeface="Arial" panose="020B0604020202020204" pitchFamily="34" charset="0"/>
              </a:rPr>
              <a:t>© 2022 Western Digital Corporation or its affiliates  All rights reserved</a:t>
            </a:r>
          </a:p>
        </p:txBody>
      </p:sp>
      <p:sp>
        <p:nvSpPr>
          <p:cNvPr id="9" name="SUHO LIMITED RELEASE…">
            <a:extLst>
              <a:ext uri="{FF2B5EF4-FFF2-40B4-BE49-F238E27FC236}">
                <a16:creationId xmlns:a16="http://schemas.microsoft.com/office/drawing/2014/main" id="{7AD33A5E-2435-AA40-9E59-38DFC78C649F}"/>
              </a:ext>
            </a:extLst>
          </p:cNvPr>
          <p:cNvSpPr txBox="1"/>
          <p:nvPr/>
        </p:nvSpPr>
        <p:spPr>
          <a:xfrm>
            <a:off x="542925" y="141286"/>
            <a:ext cx="1515387" cy="9156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ctr">
            <a:spAutoFit/>
          </a:bodyPr>
          <a:lstStyle/>
          <a:p>
            <a:pPr algn="l">
              <a:lnSpc>
                <a:spcPts val="750"/>
              </a:lnSpc>
              <a:defRPr sz="1500" b="1" cap="all">
                <a:solidFill>
                  <a:srgbClr val="9F9F94"/>
                </a:solidFill>
              </a:defRPr>
            </a:pPr>
            <a:r>
              <a:rPr lang="en-US" sz="500" b="1" spc="50" baseline="0">
                <a:solidFill>
                  <a:schemeClr val="tx1"/>
                </a:solidFill>
                <a:latin typeface="+mn-lt"/>
                <a:ea typeface="Helvetica Neue" panose="02000503000000020004" pitchFamily="2" charset="0"/>
                <a:cs typeface="Arial" panose="020B0604020202020204" pitchFamily="34" charset="0"/>
              </a:rPr>
              <a:t>WESTERN DIGITAL CONFIDENTIAL</a:t>
            </a:r>
          </a:p>
        </p:txBody>
      </p:sp>
    </p:spTree>
    <p:extLst>
      <p:ext uri="{BB962C8B-B14F-4D97-AF65-F5344CB8AC3E}">
        <p14:creationId xmlns:p14="http://schemas.microsoft.com/office/powerpoint/2010/main" val="180642981"/>
      </p:ext>
    </p:extLst>
  </p:cSld>
  <p:clrMapOvr>
    <a:masterClrMapping/>
  </p:clrMapOvr>
  <p:transition>
    <p:fade/>
  </p:transition>
  <p:hf hdr="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Subtitle and 2-Column Content White">
    <p:bg>
      <p:bgPr>
        <a:solidFill>
          <a:schemeClr val="tx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6591D91-3F4D-B347-AE2C-3F2CEF980E9D}"/>
              </a:ext>
            </a:extLst>
          </p:cNvPr>
          <p:cNvSpPr/>
          <p:nvPr/>
        </p:nvSpPr>
        <p:spPr>
          <a:xfrm>
            <a:off x="0" y="1968500"/>
            <a:ext cx="12192000" cy="4889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3EA8159-8BDE-9647-AC95-5B2B3E483807}"/>
              </a:ext>
            </a:extLst>
          </p:cNvPr>
          <p:cNvSpPr>
            <a:spLocks noGrp="1"/>
          </p:cNvSpPr>
          <p:nvPr>
            <p:ph type="title" hasCustomPrompt="1"/>
          </p:nvPr>
        </p:nvSpPr>
        <p:spPr>
          <a:xfrm>
            <a:off x="274638" y="719720"/>
            <a:ext cx="11647487" cy="615027"/>
          </a:xfrm>
        </p:spPr>
        <p:txBody>
          <a:bodyPr/>
          <a:lstStyle>
            <a:lvl1pPr>
              <a:defRPr b="1">
                <a:solidFill>
                  <a:schemeClr val="bg1"/>
                </a:solidFill>
                <a:latin typeface="+mj-lt"/>
              </a:defRPr>
            </a:lvl1pPr>
          </a:lstStyle>
          <a:p>
            <a:r>
              <a:rPr lang="en-US" dirty="0"/>
              <a:t>Click to Add Title</a:t>
            </a:r>
          </a:p>
        </p:txBody>
      </p:sp>
      <p:sp>
        <p:nvSpPr>
          <p:cNvPr id="4" name="Text Placeholder 13">
            <a:extLst>
              <a:ext uri="{FF2B5EF4-FFF2-40B4-BE49-F238E27FC236}">
                <a16:creationId xmlns:a16="http://schemas.microsoft.com/office/drawing/2014/main" id="{55FB2E66-D4A6-7C4B-91A9-C6556915485C}"/>
              </a:ext>
            </a:extLst>
          </p:cNvPr>
          <p:cNvSpPr>
            <a:spLocks noGrp="1"/>
          </p:cNvSpPr>
          <p:nvPr>
            <p:ph type="body" sz="quarter" idx="12" hasCustomPrompt="1"/>
          </p:nvPr>
        </p:nvSpPr>
        <p:spPr>
          <a:xfrm>
            <a:off x="274638" y="1336803"/>
            <a:ext cx="11647488" cy="409763"/>
          </a:xfrm>
        </p:spPr>
        <p:txBody>
          <a:bodyPr lIns="9144" bIns="0"/>
          <a:lstStyle>
            <a:lvl1pPr marL="0" indent="0">
              <a:lnSpc>
                <a:spcPct val="90000"/>
              </a:lnSpc>
              <a:buNone/>
              <a:defRPr sz="2400" b="1" spc="-100" baseline="0">
                <a:solidFill>
                  <a:schemeClr val="bg1"/>
                </a:solidFill>
                <a:latin typeface="+mj-lt"/>
              </a:defRPr>
            </a:lvl1pPr>
            <a:lvl2pPr marL="274320" indent="0">
              <a:buNone/>
              <a:defRPr/>
            </a:lvl2pPr>
            <a:lvl3pPr marL="914400" indent="0">
              <a:buNone/>
              <a:defRPr/>
            </a:lvl3pPr>
            <a:lvl4pPr marL="1371600" indent="0">
              <a:buNone/>
              <a:defRPr/>
            </a:lvl4pPr>
            <a:lvl5pPr marL="1828800" indent="0">
              <a:buNone/>
              <a:defRPr/>
            </a:lvl5pPr>
          </a:lstStyle>
          <a:p>
            <a:pPr lvl="0"/>
            <a:r>
              <a:rPr lang="en-US" dirty="0"/>
              <a:t>Click to Add Subtitle</a:t>
            </a:r>
          </a:p>
        </p:txBody>
      </p:sp>
      <p:sp>
        <p:nvSpPr>
          <p:cNvPr id="5" name="Content Placeholder 8">
            <a:extLst>
              <a:ext uri="{FF2B5EF4-FFF2-40B4-BE49-F238E27FC236}">
                <a16:creationId xmlns:a16="http://schemas.microsoft.com/office/drawing/2014/main" id="{7BE050B6-F278-8644-B933-08FF8783151B}"/>
              </a:ext>
            </a:extLst>
          </p:cNvPr>
          <p:cNvSpPr>
            <a:spLocks noGrp="1"/>
          </p:cNvSpPr>
          <p:nvPr>
            <p:ph sz="quarter" idx="11" hasCustomPrompt="1"/>
          </p:nvPr>
        </p:nvSpPr>
        <p:spPr>
          <a:xfrm>
            <a:off x="274638" y="2262701"/>
            <a:ext cx="5550408" cy="4092062"/>
          </a:xfrm>
        </p:spPr>
        <p:txBody>
          <a:bodyPr lIns="9144" bIns="0"/>
          <a:lstStyle>
            <a:lvl1pPr>
              <a:spcBef>
                <a:spcPts val="1200"/>
              </a:spcBef>
              <a:spcAft>
                <a:spcPts val="1000"/>
              </a:spcAft>
              <a:defRPr sz="2400">
                <a:solidFill>
                  <a:schemeClr val="tx1"/>
                </a:solidFill>
              </a:defRPr>
            </a:lvl1pPr>
            <a:lvl2pPr>
              <a:spcAft>
                <a:spcPts val="1000"/>
              </a:spcAft>
              <a:defRPr sz="2400">
                <a:solidFill>
                  <a:schemeClr val="tx1"/>
                </a:solidFill>
              </a:defRPr>
            </a:lvl2pPr>
            <a:lvl3pPr>
              <a:spcAft>
                <a:spcPts val="1000"/>
              </a:spcAft>
              <a:defRPr>
                <a:solidFill>
                  <a:schemeClr val="tx1"/>
                </a:solidFill>
              </a:defRPr>
            </a:lvl3pPr>
            <a:lvl4pPr>
              <a:spcAft>
                <a:spcPts val="1000"/>
              </a:spcAft>
              <a:defRPr>
                <a:solidFill>
                  <a:schemeClr val="tx1"/>
                </a:solidFill>
              </a:defRPr>
            </a:lvl4pPr>
            <a:lvl5pPr>
              <a:spcAft>
                <a:spcPts val="1000"/>
              </a:spcAft>
              <a:defRPr>
                <a:solidFill>
                  <a:schemeClr val="tx1"/>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6" name="Straight Connector 5">
            <a:extLst>
              <a:ext uri="{FF2B5EF4-FFF2-40B4-BE49-F238E27FC236}">
                <a16:creationId xmlns:a16="http://schemas.microsoft.com/office/drawing/2014/main" id="{D2087AFE-FF5C-8142-ACD9-5F5FAAD78E1B}"/>
              </a:ext>
            </a:extLst>
          </p:cNvPr>
          <p:cNvCxnSpPr/>
          <p:nvPr/>
        </p:nvCxnSpPr>
        <p:spPr>
          <a:xfrm>
            <a:off x="0" y="365760"/>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432F6B9F-42F3-5544-A181-CD7F37AEA563}"/>
              </a:ext>
            </a:extLst>
          </p:cNvPr>
          <p:cNvSpPr>
            <a:spLocks noGrp="1"/>
          </p:cNvSpPr>
          <p:nvPr>
            <p:ph type="sldNum" sz="quarter" idx="4"/>
          </p:nvPr>
        </p:nvSpPr>
        <p:spPr>
          <a:xfrm>
            <a:off x="274638" y="133411"/>
            <a:ext cx="211271" cy="120013"/>
          </a:xfrm>
          <a:prstGeom prst="rect">
            <a:avLst/>
          </a:prstGeom>
        </p:spPr>
        <p:txBody>
          <a:bodyPr vert="horz" lIns="0" tIns="0" rIns="0" bIns="0" rtlCol="0" anchor="ctr"/>
          <a:lstStyle>
            <a:lvl1pPr algn="l">
              <a:defRPr sz="500" b="1" i="0" spc="50" baseline="0">
                <a:solidFill>
                  <a:schemeClr val="bg1"/>
                </a:solidFill>
                <a:latin typeface="+mn-lt"/>
                <a:cs typeface="Arial" panose="020B0604020202020204" pitchFamily="34" charset="0"/>
              </a:defRPr>
            </a:lvl1pPr>
          </a:lstStyle>
          <a:p>
            <a:fld id="{4571BA12-316B-0A40-BB3D-1A8CDD33E9E5}" type="slidenum">
              <a:rPr lang="en-US" smtClean="0"/>
              <a:pPr/>
              <a:t>‹#›</a:t>
            </a:fld>
            <a:endParaRPr lang="en-US" dirty="0"/>
          </a:p>
        </p:txBody>
      </p:sp>
      <p:sp>
        <p:nvSpPr>
          <p:cNvPr id="11" name="SUHO LIMITED RELEASE…">
            <a:extLst>
              <a:ext uri="{FF2B5EF4-FFF2-40B4-BE49-F238E27FC236}">
                <a16:creationId xmlns:a16="http://schemas.microsoft.com/office/drawing/2014/main" id="{FC751C3F-04DF-1449-9060-1DDD96A266AB}"/>
              </a:ext>
            </a:extLst>
          </p:cNvPr>
          <p:cNvSpPr txBox="1"/>
          <p:nvPr/>
        </p:nvSpPr>
        <p:spPr>
          <a:xfrm>
            <a:off x="6292066" y="141350"/>
            <a:ext cx="5625296" cy="9150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ctr">
            <a:spAutoFit/>
          </a:bodyPr>
          <a:lstStyle/>
          <a:p>
            <a:pPr algn="r">
              <a:lnSpc>
                <a:spcPts val="750"/>
              </a:lnSpc>
              <a:defRPr sz="1500" b="1" cap="all">
                <a:solidFill>
                  <a:srgbClr val="9F9F94"/>
                </a:solidFill>
              </a:defRPr>
            </a:pPr>
            <a:r>
              <a:rPr lang="en-US" sz="500" b="1" spc="50" baseline="0" dirty="0">
                <a:solidFill>
                  <a:schemeClr val="bg1"/>
                </a:solidFill>
                <a:latin typeface="+mn-lt"/>
                <a:ea typeface="Helvetica Neue" panose="02000503000000020004" pitchFamily="2" charset="0"/>
                <a:cs typeface="Arial" panose="020B0604020202020204" pitchFamily="34" charset="0"/>
              </a:rPr>
              <a:t>© 2022 Western Digital Corporation or its affiliates  All rights reserved</a:t>
            </a:r>
          </a:p>
        </p:txBody>
      </p:sp>
      <p:sp>
        <p:nvSpPr>
          <p:cNvPr id="13" name="SUHO LIMITED RELEASE…">
            <a:extLst>
              <a:ext uri="{FF2B5EF4-FFF2-40B4-BE49-F238E27FC236}">
                <a16:creationId xmlns:a16="http://schemas.microsoft.com/office/drawing/2014/main" id="{04EA33A1-7701-9849-954B-04B978BDB7DC}"/>
              </a:ext>
            </a:extLst>
          </p:cNvPr>
          <p:cNvSpPr txBox="1"/>
          <p:nvPr/>
        </p:nvSpPr>
        <p:spPr>
          <a:xfrm>
            <a:off x="542925" y="141286"/>
            <a:ext cx="1515387" cy="9156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ctr">
            <a:spAutoFit/>
          </a:bodyPr>
          <a:lstStyle/>
          <a:p>
            <a:pPr algn="l">
              <a:lnSpc>
                <a:spcPts val="750"/>
              </a:lnSpc>
              <a:defRPr sz="1500" b="1" cap="all">
                <a:solidFill>
                  <a:srgbClr val="9F9F94"/>
                </a:solidFill>
              </a:defRPr>
            </a:pPr>
            <a:r>
              <a:rPr lang="en-US" sz="500" b="1" spc="50" baseline="0" dirty="0">
                <a:solidFill>
                  <a:schemeClr val="bg1"/>
                </a:solidFill>
                <a:latin typeface="+mn-lt"/>
                <a:ea typeface="Helvetica Neue" panose="02000503000000020004" pitchFamily="2" charset="0"/>
                <a:cs typeface="Arial" panose="020B0604020202020204" pitchFamily="34" charset="0"/>
              </a:rPr>
              <a:t>WESTERN DIGITAL CONFIDENTIAL</a:t>
            </a:r>
          </a:p>
        </p:txBody>
      </p:sp>
      <p:sp>
        <p:nvSpPr>
          <p:cNvPr id="14" name="Content Placeholder 8">
            <a:extLst>
              <a:ext uri="{FF2B5EF4-FFF2-40B4-BE49-F238E27FC236}">
                <a16:creationId xmlns:a16="http://schemas.microsoft.com/office/drawing/2014/main" id="{EAE06022-55E5-384A-9F47-A9451023258E}"/>
              </a:ext>
            </a:extLst>
          </p:cNvPr>
          <p:cNvSpPr>
            <a:spLocks noGrp="1"/>
          </p:cNvSpPr>
          <p:nvPr>
            <p:ph sz="quarter" idx="13" hasCustomPrompt="1"/>
          </p:nvPr>
        </p:nvSpPr>
        <p:spPr>
          <a:xfrm>
            <a:off x="6366954" y="2262701"/>
            <a:ext cx="5550408" cy="4092062"/>
          </a:xfrm>
        </p:spPr>
        <p:txBody>
          <a:bodyPr lIns="9144" bIns="0"/>
          <a:lstStyle>
            <a:lvl1pPr>
              <a:spcBef>
                <a:spcPts val="1200"/>
              </a:spcBef>
              <a:spcAft>
                <a:spcPts val="1000"/>
              </a:spcAft>
              <a:defRPr sz="2400">
                <a:solidFill>
                  <a:schemeClr val="tx1"/>
                </a:solidFill>
              </a:defRPr>
            </a:lvl1pPr>
            <a:lvl2pPr>
              <a:spcAft>
                <a:spcPts val="1000"/>
              </a:spcAft>
              <a:defRPr sz="2400">
                <a:solidFill>
                  <a:schemeClr val="tx1"/>
                </a:solidFill>
              </a:defRPr>
            </a:lvl2pPr>
            <a:lvl3pPr>
              <a:spcAft>
                <a:spcPts val="1000"/>
              </a:spcAft>
              <a:defRPr>
                <a:solidFill>
                  <a:schemeClr val="tx1"/>
                </a:solidFill>
              </a:defRPr>
            </a:lvl3pPr>
            <a:lvl4pPr>
              <a:spcAft>
                <a:spcPts val="1000"/>
              </a:spcAft>
              <a:defRPr>
                <a:solidFill>
                  <a:schemeClr val="tx1"/>
                </a:solidFill>
              </a:defRPr>
            </a:lvl4pPr>
            <a:lvl5pPr>
              <a:spcAft>
                <a:spcPts val="1000"/>
              </a:spcAft>
              <a:defRPr>
                <a:solidFill>
                  <a:schemeClr val="tx1"/>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6" name="Straight Connector 15">
            <a:extLst>
              <a:ext uri="{FF2B5EF4-FFF2-40B4-BE49-F238E27FC236}">
                <a16:creationId xmlns:a16="http://schemas.microsoft.com/office/drawing/2014/main" id="{3B1787CB-6F31-0C40-AAD5-E1713756FF87}"/>
              </a:ext>
            </a:extLst>
          </p:cNvPr>
          <p:cNvCxnSpPr/>
          <p:nvPr/>
        </p:nvCxnSpPr>
        <p:spPr>
          <a:xfrm>
            <a:off x="6096000" y="1968498"/>
            <a:ext cx="0" cy="48920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2AB71CE-B660-0F48-AD59-4985CA0ADE1E}"/>
              </a:ext>
            </a:extLst>
          </p:cNvPr>
          <p:cNvCxnSpPr>
            <a:cxnSpLocks/>
          </p:cNvCxnSpPr>
          <p:nvPr userDrawn="1"/>
        </p:nvCxnSpPr>
        <p:spPr>
          <a:xfrm>
            <a:off x="0" y="6858000"/>
            <a:ext cx="12192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0169033"/>
      </p:ext>
    </p:extLst>
  </p:cSld>
  <p:clrMapOvr>
    <a:masterClrMapping/>
  </p:clrMapOvr>
  <p:transition>
    <p:fade/>
  </p:transition>
  <p:hf hdr="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Subtitle and Content White">
    <p:bg>
      <p:bgPr>
        <a:solidFill>
          <a:schemeClr val="tx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6591D91-3F4D-B347-AE2C-3F2CEF980E9D}"/>
              </a:ext>
            </a:extLst>
          </p:cNvPr>
          <p:cNvSpPr/>
          <p:nvPr/>
        </p:nvSpPr>
        <p:spPr>
          <a:xfrm>
            <a:off x="0" y="1968500"/>
            <a:ext cx="12192000" cy="4889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3EA8159-8BDE-9647-AC95-5B2B3E483807}"/>
              </a:ext>
            </a:extLst>
          </p:cNvPr>
          <p:cNvSpPr>
            <a:spLocks noGrp="1"/>
          </p:cNvSpPr>
          <p:nvPr>
            <p:ph type="title" hasCustomPrompt="1"/>
          </p:nvPr>
        </p:nvSpPr>
        <p:spPr>
          <a:xfrm>
            <a:off x="274638" y="719720"/>
            <a:ext cx="11647487" cy="615027"/>
          </a:xfrm>
        </p:spPr>
        <p:txBody>
          <a:bodyPr/>
          <a:lstStyle>
            <a:lvl1pPr>
              <a:defRPr b="1">
                <a:solidFill>
                  <a:schemeClr val="bg1"/>
                </a:solidFill>
                <a:latin typeface="+mj-lt"/>
              </a:defRPr>
            </a:lvl1pPr>
          </a:lstStyle>
          <a:p>
            <a:r>
              <a:rPr lang="en-US" dirty="0"/>
              <a:t>Click to Add Title</a:t>
            </a:r>
          </a:p>
        </p:txBody>
      </p:sp>
      <p:sp>
        <p:nvSpPr>
          <p:cNvPr id="4" name="Text Placeholder 13">
            <a:extLst>
              <a:ext uri="{FF2B5EF4-FFF2-40B4-BE49-F238E27FC236}">
                <a16:creationId xmlns:a16="http://schemas.microsoft.com/office/drawing/2014/main" id="{55FB2E66-D4A6-7C4B-91A9-C6556915485C}"/>
              </a:ext>
            </a:extLst>
          </p:cNvPr>
          <p:cNvSpPr>
            <a:spLocks noGrp="1"/>
          </p:cNvSpPr>
          <p:nvPr>
            <p:ph type="body" sz="quarter" idx="12" hasCustomPrompt="1"/>
          </p:nvPr>
        </p:nvSpPr>
        <p:spPr>
          <a:xfrm>
            <a:off x="274638" y="1336803"/>
            <a:ext cx="11647488" cy="409763"/>
          </a:xfrm>
        </p:spPr>
        <p:txBody>
          <a:bodyPr lIns="9144" bIns="0"/>
          <a:lstStyle>
            <a:lvl1pPr marL="0" indent="0">
              <a:lnSpc>
                <a:spcPct val="90000"/>
              </a:lnSpc>
              <a:buNone/>
              <a:defRPr sz="2400" b="1" spc="-100" baseline="0">
                <a:solidFill>
                  <a:schemeClr val="bg1"/>
                </a:solidFill>
                <a:latin typeface="+mj-lt"/>
              </a:defRPr>
            </a:lvl1pPr>
            <a:lvl2pPr marL="274320" indent="0">
              <a:buNone/>
              <a:defRPr/>
            </a:lvl2pPr>
            <a:lvl3pPr marL="914400" indent="0">
              <a:buNone/>
              <a:defRPr/>
            </a:lvl3pPr>
            <a:lvl4pPr marL="1371600" indent="0">
              <a:buNone/>
              <a:defRPr/>
            </a:lvl4pPr>
            <a:lvl5pPr marL="1828800" indent="0">
              <a:buNone/>
              <a:defRPr/>
            </a:lvl5pPr>
          </a:lstStyle>
          <a:p>
            <a:pPr lvl="0"/>
            <a:r>
              <a:rPr lang="en-US" dirty="0"/>
              <a:t>Click to Add Subtitle</a:t>
            </a:r>
          </a:p>
        </p:txBody>
      </p:sp>
      <p:sp>
        <p:nvSpPr>
          <p:cNvPr id="5" name="Content Placeholder 8">
            <a:extLst>
              <a:ext uri="{FF2B5EF4-FFF2-40B4-BE49-F238E27FC236}">
                <a16:creationId xmlns:a16="http://schemas.microsoft.com/office/drawing/2014/main" id="{7BE050B6-F278-8644-B933-08FF8783151B}"/>
              </a:ext>
            </a:extLst>
          </p:cNvPr>
          <p:cNvSpPr>
            <a:spLocks noGrp="1"/>
          </p:cNvSpPr>
          <p:nvPr>
            <p:ph sz="quarter" idx="11" hasCustomPrompt="1"/>
          </p:nvPr>
        </p:nvSpPr>
        <p:spPr>
          <a:xfrm>
            <a:off x="274638" y="2262701"/>
            <a:ext cx="11647486" cy="4092062"/>
          </a:xfrm>
        </p:spPr>
        <p:txBody>
          <a:bodyPr lIns="9144" bIns="0"/>
          <a:lstStyle>
            <a:lvl1pPr>
              <a:spcBef>
                <a:spcPts val="1200"/>
              </a:spcBef>
              <a:spcAft>
                <a:spcPts val="1000"/>
              </a:spcAft>
              <a:defRPr sz="2400">
                <a:solidFill>
                  <a:schemeClr val="tx1"/>
                </a:solidFill>
              </a:defRPr>
            </a:lvl1pPr>
            <a:lvl2pPr>
              <a:spcAft>
                <a:spcPts val="1000"/>
              </a:spcAft>
              <a:defRPr sz="2400">
                <a:solidFill>
                  <a:schemeClr val="tx1"/>
                </a:solidFill>
              </a:defRPr>
            </a:lvl2pPr>
            <a:lvl3pPr>
              <a:spcAft>
                <a:spcPts val="1000"/>
              </a:spcAft>
              <a:defRPr>
                <a:solidFill>
                  <a:schemeClr val="tx1"/>
                </a:solidFill>
              </a:defRPr>
            </a:lvl3pPr>
            <a:lvl4pPr>
              <a:spcAft>
                <a:spcPts val="1000"/>
              </a:spcAft>
              <a:defRPr>
                <a:solidFill>
                  <a:schemeClr val="tx1"/>
                </a:solidFill>
              </a:defRPr>
            </a:lvl4pPr>
            <a:lvl5pPr>
              <a:spcAft>
                <a:spcPts val="1000"/>
              </a:spcAft>
              <a:defRPr>
                <a:solidFill>
                  <a:schemeClr val="tx1"/>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6" name="Straight Connector 5">
            <a:extLst>
              <a:ext uri="{FF2B5EF4-FFF2-40B4-BE49-F238E27FC236}">
                <a16:creationId xmlns:a16="http://schemas.microsoft.com/office/drawing/2014/main" id="{D2087AFE-FF5C-8142-ACD9-5F5FAAD78E1B}"/>
              </a:ext>
            </a:extLst>
          </p:cNvPr>
          <p:cNvCxnSpPr/>
          <p:nvPr/>
        </p:nvCxnSpPr>
        <p:spPr>
          <a:xfrm>
            <a:off x="0" y="365760"/>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432F6B9F-42F3-5544-A181-CD7F37AEA563}"/>
              </a:ext>
            </a:extLst>
          </p:cNvPr>
          <p:cNvSpPr>
            <a:spLocks noGrp="1"/>
          </p:cNvSpPr>
          <p:nvPr>
            <p:ph type="sldNum" sz="quarter" idx="4"/>
          </p:nvPr>
        </p:nvSpPr>
        <p:spPr>
          <a:xfrm>
            <a:off x="274638" y="133411"/>
            <a:ext cx="211271" cy="120013"/>
          </a:xfrm>
          <a:prstGeom prst="rect">
            <a:avLst/>
          </a:prstGeom>
        </p:spPr>
        <p:txBody>
          <a:bodyPr vert="horz" lIns="0" tIns="0" rIns="0" bIns="0" rtlCol="0" anchor="ctr"/>
          <a:lstStyle>
            <a:lvl1pPr algn="l">
              <a:defRPr sz="500" b="1" i="0" spc="50" baseline="0">
                <a:solidFill>
                  <a:schemeClr val="bg1"/>
                </a:solidFill>
                <a:latin typeface="+mn-lt"/>
                <a:cs typeface="Arial" panose="020B0604020202020204" pitchFamily="34" charset="0"/>
              </a:defRPr>
            </a:lvl1pPr>
          </a:lstStyle>
          <a:p>
            <a:fld id="{4571BA12-316B-0A40-BB3D-1A8CDD33E9E5}" type="slidenum">
              <a:rPr lang="en-US" smtClean="0"/>
              <a:pPr/>
              <a:t>‹#›</a:t>
            </a:fld>
            <a:endParaRPr lang="en-US" dirty="0"/>
          </a:p>
        </p:txBody>
      </p:sp>
      <p:sp>
        <p:nvSpPr>
          <p:cNvPr id="11" name="SUHO LIMITED RELEASE…">
            <a:extLst>
              <a:ext uri="{FF2B5EF4-FFF2-40B4-BE49-F238E27FC236}">
                <a16:creationId xmlns:a16="http://schemas.microsoft.com/office/drawing/2014/main" id="{FC751C3F-04DF-1449-9060-1DDD96A266AB}"/>
              </a:ext>
            </a:extLst>
          </p:cNvPr>
          <p:cNvSpPr txBox="1"/>
          <p:nvPr/>
        </p:nvSpPr>
        <p:spPr>
          <a:xfrm>
            <a:off x="6292066" y="141350"/>
            <a:ext cx="5625296" cy="9150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ctr">
            <a:spAutoFit/>
          </a:bodyPr>
          <a:lstStyle/>
          <a:p>
            <a:pPr algn="r">
              <a:lnSpc>
                <a:spcPts val="750"/>
              </a:lnSpc>
              <a:defRPr sz="1500" b="1" cap="all">
                <a:solidFill>
                  <a:srgbClr val="9F9F94"/>
                </a:solidFill>
              </a:defRPr>
            </a:pPr>
            <a:r>
              <a:rPr lang="en-US" sz="500" b="1" spc="50" baseline="0" dirty="0">
                <a:solidFill>
                  <a:schemeClr val="bg1"/>
                </a:solidFill>
                <a:latin typeface="+mn-lt"/>
                <a:ea typeface="Helvetica Neue" panose="02000503000000020004" pitchFamily="2" charset="0"/>
                <a:cs typeface="Arial" panose="020B0604020202020204" pitchFamily="34" charset="0"/>
              </a:rPr>
              <a:t>© 2022 Western Digital Corporation or its affiliates  All rights reserved</a:t>
            </a:r>
          </a:p>
        </p:txBody>
      </p:sp>
      <p:sp>
        <p:nvSpPr>
          <p:cNvPr id="13" name="SUHO LIMITED RELEASE…">
            <a:extLst>
              <a:ext uri="{FF2B5EF4-FFF2-40B4-BE49-F238E27FC236}">
                <a16:creationId xmlns:a16="http://schemas.microsoft.com/office/drawing/2014/main" id="{04EA33A1-7701-9849-954B-04B978BDB7DC}"/>
              </a:ext>
            </a:extLst>
          </p:cNvPr>
          <p:cNvSpPr txBox="1"/>
          <p:nvPr/>
        </p:nvSpPr>
        <p:spPr>
          <a:xfrm>
            <a:off x="542925" y="141286"/>
            <a:ext cx="1515387" cy="9156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ctr">
            <a:spAutoFit/>
          </a:bodyPr>
          <a:lstStyle/>
          <a:p>
            <a:pPr algn="l">
              <a:lnSpc>
                <a:spcPts val="750"/>
              </a:lnSpc>
              <a:defRPr sz="1500" b="1" cap="all">
                <a:solidFill>
                  <a:srgbClr val="9F9F94"/>
                </a:solidFill>
              </a:defRPr>
            </a:pPr>
            <a:r>
              <a:rPr lang="en-US" sz="500" b="1" spc="50" baseline="0" dirty="0">
                <a:solidFill>
                  <a:schemeClr val="bg1"/>
                </a:solidFill>
                <a:latin typeface="+mn-lt"/>
                <a:ea typeface="Helvetica Neue" panose="02000503000000020004" pitchFamily="2" charset="0"/>
                <a:cs typeface="Arial" panose="020B0604020202020204" pitchFamily="34" charset="0"/>
              </a:rPr>
              <a:t>WESTERN DIGITAL CONFIDENTIAL</a:t>
            </a:r>
          </a:p>
        </p:txBody>
      </p:sp>
    </p:spTree>
    <p:extLst>
      <p:ext uri="{BB962C8B-B14F-4D97-AF65-F5344CB8AC3E}">
        <p14:creationId xmlns:p14="http://schemas.microsoft.com/office/powerpoint/2010/main" val="2993618288"/>
      </p:ext>
    </p:extLst>
  </p:cSld>
  <p:clrMapOvr>
    <a:masterClrMapping/>
  </p:clrMapOvr>
  <p:transition>
    <p:fade/>
  </p:transition>
  <p:hf hdr="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and Content White">
    <p:bg>
      <p:bgPr>
        <a:solidFill>
          <a:schemeClr val="tx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6591D91-3F4D-B347-AE2C-3F2CEF980E9D}"/>
              </a:ext>
            </a:extLst>
          </p:cNvPr>
          <p:cNvSpPr/>
          <p:nvPr/>
        </p:nvSpPr>
        <p:spPr>
          <a:xfrm>
            <a:off x="0" y="1968500"/>
            <a:ext cx="12192000" cy="4889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3EA8159-8BDE-9647-AC95-5B2B3E483807}"/>
              </a:ext>
            </a:extLst>
          </p:cNvPr>
          <p:cNvSpPr>
            <a:spLocks noGrp="1"/>
          </p:cNvSpPr>
          <p:nvPr>
            <p:ph type="title" hasCustomPrompt="1"/>
          </p:nvPr>
        </p:nvSpPr>
        <p:spPr>
          <a:xfrm>
            <a:off x="274638" y="941832"/>
            <a:ext cx="11647487" cy="615027"/>
          </a:xfrm>
        </p:spPr>
        <p:txBody>
          <a:bodyPr/>
          <a:lstStyle>
            <a:lvl1pPr>
              <a:defRPr b="1">
                <a:solidFill>
                  <a:schemeClr val="bg1"/>
                </a:solidFill>
                <a:latin typeface="+mj-lt"/>
              </a:defRPr>
            </a:lvl1pPr>
          </a:lstStyle>
          <a:p>
            <a:r>
              <a:rPr lang="en-US" dirty="0"/>
              <a:t>Click to Add Title</a:t>
            </a:r>
          </a:p>
        </p:txBody>
      </p:sp>
      <p:sp>
        <p:nvSpPr>
          <p:cNvPr id="5" name="Content Placeholder 8">
            <a:extLst>
              <a:ext uri="{FF2B5EF4-FFF2-40B4-BE49-F238E27FC236}">
                <a16:creationId xmlns:a16="http://schemas.microsoft.com/office/drawing/2014/main" id="{7BE050B6-F278-8644-B933-08FF8783151B}"/>
              </a:ext>
            </a:extLst>
          </p:cNvPr>
          <p:cNvSpPr>
            <a:spLocks noGrp="1"/>
          </p:cNvSpPr>
          <p:nvPr>
            <p:ph sz="quarter" idx="11" hasCustomPrompt="1"/>
          </p:nvPr>
        </p:nvSpPr>
        <p:spPr>
          <a:xfrm>
            <a:off x="274638" y="2262701"/>
            <a:ext cx="11647486" cy="4092062"/>
          </a:xfrm>
        </p:spPr>
        <p:txBody>
          <a:bodyPr lIns="9144" bIns="0"/>
          <a:lstStyle>
            <a:lvl1pPr>
              <a:spcBef>
                <a:spcPts val="1200"/>
              </a:spcBef>
              <a:spcAft>
                <a:spcPts val="1000"/>
              </a:spcAft>
              <a:defRPr sz="2400">
                <a:solidFill>
                  <a:schemeClr val="tx1"/>
                </a:solidFill>
              </a:defRPr>
            </a:lvl1pPr>
            <a:lvl2pPr>
              <a:spcAft>
                <a:spcPts val="1000"/>
              </a:spcAft>
              <a:defRPr sz="2400">
                <a:solidFill>
                  <a:schemeClr val="tx1"/>
                </a:solidFill>
              </a:defRPr>
            </a:lvl2pPr>
            <a:lvl3pPr>
              <a:spcAft>
                <a:spcPts val="1000"/>
              </a:spcAft>
              <a:defRPr>
                <a:solidFill>
                  <a:schemeClr val="tx1"/>
                </a:solidFill>
              </a:defRPr>
            </a:lvl3pPr>
            <a:lvl4pPr>
              <a:spcAft>
                <a:spcPts val="1000"/>
              </a:spcAft>
              <a:defRPr>
                <a:solidFill>
                  <a:schemeClr val="tx1"/>
                </a:solidFill>
              </a:defRPr>
            </a:lvl4pPr>
            <a:lvl5pPr>
              <a:spcAft>
                <a:spcPts val="1000"/>
              </a:spcAft>
              <a:defRPr>
                <a:solidFill>
                  <a:schemeClr val="tx1"/>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6" name="Straight Connector 5">
            <a:extLst>
              <a:ext uri="{FF2B5EF4-FFF2-40B4-BE49-F238E27FC236}">
                <a16:creationId xmlns:a16="http://schemas.microsoft.com/office/drawing/2014/main" id="{D2087AFE-FF5C-8142-ACD9-5F5FAAD78E1B}"/>
              </a:ext>
            </a:extLst>
          </p:cNvPr>
          <p:cNvCxnSpPr/>
          <p:nvPr/>
        </p:nvCxnSpPr>
        <p:spPr>
          <a:xfrm>
            <a:off x="0" y="365760"/>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432F6B9F-42F3-5544-A181-CD7F37AEA563}"/>
              </a:ext>
            </a:extLst>
          </p:cNvPr>
          <p:cNvSpPr>
            <a:spLocks noGrp="1"/>
          </p:cNvSpPr>
          <p:nvPr>
            <p:ph type="sldNum" sz="quarter" idx="4"/>
          </p:nvPr>
        </p:nvSpPr>
        <p:spPr>
          <a:xfrm>
            <a:off x="274638" y="133411"/>
            <a:ext cx="211271" cy="120013"/>
          </a:xfrm>
          <a:prstGeom prst="rect">
            <a:avLst/>
          </a:prstGeom>
        </p:spPr>
        <p:txBody>
          <a:bodyPr vert="horz" lIns="0" tIns="0" rIns="0" bIns="0" rtlCol="0" anchor="ctr"/>
          <a:lstStyle>
            <a:lvl1pPr algn="l">
              <a:defRPr sz="500" b="1" i="0" spc="50" baseline="0">
                <a:solidFill>
                  <a:schemeClr val="bg1"/>
                </a:solidFill>
                <a:latin typeface="+mn-lt"/>
                <a:cs typeface="Arial" panose="020B0604020202020204" pitchFamily="34" charset="0"/>
              </a:defRPr>
            </a:lvl1pPr>
          </a:lstStyle>
          <a:p>
            <a:fld id="{4571BA12-316B-0A40-BB3D-1A8CDD33E9E5}" type="slidenum">
              <a:rPr lang="en-US" smtClean="0"/>
              <a:pPr/>
              <a:t>‹#›</a:t>
            </a:fld>
            <a:endParaRPr lang="en-US" dirty="0"/>
          </a:p>
        </p:txBody>
      </p:sp>
      <p:sp>
        <p:nvSpPr>
          <p:cNvPr id="11" name="SUHO LIMITED RELEASE…">
            <a:extLst>
              <a:ext uri="{FF2B5EF4-FFF2-40B4-BE49-F238E27FC236}">
                <a16:creationId xmlns:a16="http://schemas.microsoft.com/office/drawing/2014/main" id="{FC751C3F-04DF-1449-9060-1DDD96A266AB}"/>
              </a:ext>
            </a:extLst>
          </p:cNvPr>
          <p:cNvSpPr txBox="1"/>
          <p:nvPr/>
        </p:nvSpPr>
        <p:spPr>
          <a:xfrm>
            <a:off x="6292066" y="141350"/>
            <a:ext cx="5625296" cy="9150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ctr">
            <a:spAutoFit/>
          </a:bodyPr>
          <a:lstStyle/>
          <a:p>
            <a:pPr algn="r">
              <a:lnSpc>
                <a:spcPts val="750"/>
              </a:lnSpc>
              <a:defRPr sz="1500" b="1" cap="all">
                <a:solidFill>
                  <a:srgbClr val="9F9F94"/>
                </a:solidFill>
              </a:defRPr>
            </a:pPr>
            <a:r>
              <a:rPr lang="en-US" sz="500" b="1" spc="50" baseline="0" dirty="0">
                <a:solidFill>
                  <a:schemeClr val="bg1"/>
                </a:solidFill>
                <a:latin typeface="+mn-lt"/>
                <a:ea typeface="Helvetica Neue" panose="02000503000000020004" pitchFamily="2" charset="0"/>
                <a:cs typeface="Arial" panose="020B0604020202020204" pitchFamily="34" charset="0"/>
              </a:rPr>
              <a:t>© 2022 Western Digital Corporation or its affiliates  All rights reserved</a:t>
            </a:r>
          </a:p>
        </p:txBody>
      </p:sp>
      <p:sp>
        <p:nvSpPr>
          <p:cNvPr id="13" name="SUHO LIMITED RELEASE…">
            <a:extLst>
              <a:ext uri="{FF2B5EF4-FFF2-40B4-BE49-F238E27FC236}">
                <a16:creationId xmlns:a16="http://schemas.microsoft.com/office/drawing/2014/main" id="{04EA33A1-7701-9849-954B-04B978BDB7DC}"/>
              </a:ext>
            </a:extLst>
          </p:cNvPr>
          <p:cNvSpPr txBox="1"/>
          <p:nvPr/>
        </p:nvSpPr>
        <p:spPr>
          <a:xfrm>
            <a:off x="542925" y="141286"/>
            <a:ext cx="1515387" cy="9156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ctr">
            <a:spAutoFit/>
          </a:bodyPr>
          <a:lstStyle/>
          <a:p>
            <a:pPr algn="l">
              <a:lnSpc>
                <a:spcPts val="750"/>
              </a:lnSpc>
              <a:defRPr sz="1500" b="1" cap="all">
                <a:solidFill>
                  <a:srgbClr val="9F9F94"/>
                </a:solidFill>
              </a:defRPr>
            </a:pPr>
            <a:r>
              <a:rPr lang="en-US" sz="500" b="1" spc="50" baseline="0" dirty="0">
                <a:solidFill>
                  <a:schemeClr val="bg1"/>
                </a:solidFill>
                <a:latin typeface="+mn-lt"/>
                <a:ea typeface="Helvetica Neue" panose="02000503000000020004" pitchFamily="2" charset="0"/>
                <a:cs typeface="Arial" panose="020B0604020202020204" pitchFamily="34" charset="0"/>
              </a:rPr>
              <a:t>WESTERN DIGITAL CONFIDENTIAL</a:t>
            </a:r>
          </a:p>
        </p:txBody>
      </p:sp>
    </p:spTree>
    <p:extLst>
      <p:ext uri="{BB962C8B-B14F-4D97-AF65-F5344CB8AC3E}">
        <p14:creationId xmlns:p14="http://schemas.microsoft.com/office/powerpoint/2010/main" val="1778964569"/>
      </p:ext>
    </p:extLst>
  </p:cSld>
  <p:clrMapOvr>
    <a:masterClrMapping/>
  </p:clrMapOvr>
  <p:transition>
    <p:fade/>
  </p:transition>
  <p:hf hdr="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and Subtitle White">
    <p:bg>
      <p:bgPr>
        <a:solidFill>
          <a:schemeClr val="tx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6591D91-3F4D-B347-AE2C-3F2CEF980E9D}"/>
              </a:ext>
            </a:extLst>
          </p:cNvPr>
          <p:cNvSpPr/>
          <p:nvPr/>
        </p:nvSpPr>
        <p:spPr>
          <a:xfrm>
            <a:off x="0" y="1968510"/>
            <a:ext cx="12192000" cy="488949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3EA8159-8BDE-9647-AC95-5B2B3E483807}"/>
              </a:ext>
            </a:extLst>
          </p:cNvPr>
          <p:cNvSpPr>
            <a:spLocks noGrp="1"/>
          </p:cNvSpPr>
          <p:nvPr>
            <p:ph type="title" hasCustomPrompt="1"/>
          </p:nvPr>
        </p:nvSpPr>
        <p:spPr>
          <a:xfrm>
            <a:off x="274638" y="719720"/>
            <a:ext cx="11647487" cy="615027"/>
          </a:xfrm>
        </p:spPr>
        <p:txBody>
          <a:bodyPr/>
          <a:lstStyle>
            <a:lvl1pPr>
              <a:defRPr b="1">
                <a:solidFill>
                  <a:schemeClr val="bg1"/>
                </a:solidFill>
                <a:latin typeface="+mj-lt"/>
              </a:defRPr>
            </a:lvl1pPr>
          </a:lstStyle>
          <a:p>
            <a:r>
              <a:rPr lang="en-US" dirty="0"/>
              <a:t>Click to Add Title</a:t>
            </a:r>
          </a:p>
        </p:txBody>
      </p:sp>
      <p:sp>
        <p:nvSpPr>
          <p:cNvPr id="4" name="Text Placeholder 13">
            <a:extLst>
              <a:ext uri="{FF2B5EF4-FFF2-40B4-BE49-F238E27FC236}">
                <a16:creationId xmlns:a16="http://schemas.microsoft.com/office/drawing/2014/main" id="{55FB2E66-D4A6-7C4B-91A9-C6556915485C}"/>
              </a:ext>
            </a:extLst>
          </p:cNvPr>
          <p:cNvSpPr>
            <a:spLocks noGrp="1"/>
          </p:cNvSpPr>
          <p:nvPr>
            <p:ph type="body" sz="quarter" idx="12" hasCustomPrompt="1"/>
          </p:nvPr>
        </p:nvSpPr>
        <p:spPr>
          <a:xfrm>
            <a:off x="274638" y="1336803"/>
            <a:ext cx="11647488" cy="409763"/>
          </a:xfrm>
        </p:spPr>
        <p:txBody>
          <a:bodyPr lIns="9144" bIns="0"/>
          <a:lstStyle>
            <a:lvl1pPr marL="0" indent="0">
              <a:lnSpc>
                <a:spcPct val="90000"/>
              </a:lnSpc>
              <a:buNone/>
              <a:defRPr sz="2400" b="1" spc="-100" baseline="0">
                <a:solidFill>
                  <a:schemeClr val="bg1"/>
                </a:solidFill>
                <a:latin typeface="+mj-lt"/>
              </a:defRPr>
            </a:lvl1pPr>
            <a:lvl2pPr marL="274320" indent="0">
              <a:buNone/>
              <a:defRPr/>
            </a:lvl2pPr>
            <a:lvl3pPr marL="914400" indent="0">
              <a:buNone/>
              <a:defRPr/>
            </a:lvl3pPr>
            <a:lvl4pPr marL="1371600" indent="0">
              <a:buNone/>
              <a:defRPr/>
            </a:lvl4pPr>
            <a:lvl5pPr marL="1828800" indent="0">
              <a:buNone/>
              <a:defRPr/>
            </a:lvl5pPr>
          </a:lstStyle>
          <a:p>
            <a:pPr lvl="0"/>
            <a:r>
              <a:rPr lang="en-US" dirty="0"/>
              <a:t>Click to Add Subtitle</a:t>
            </a:r>
          </a:p>
        </p:txBody>
      </p:sp>
      <p:cxnSp>
        <p:nvCxnSpPr>
          <p:cNvPr id="6" name="Straight Connector 5">
            <a:extLst>
              <a:ext uri="{FF2B5EF4-FFF2-40B4-BE49-F238E27FC236}">
                <a16:creationId xmlns:a16="http://schemas.microsoft.com/office/drawing/2014/main" id="{D2087AFE-FF5C-8142-ACD9-5F5FAAD78E1B}"/>
              </a:ext>
            </a:extLst>
          </p:cNvPr>
          <p:cNvCxnSpPr/>
          <p:nvPr/>
        </p:nvCxnSpPr>
        <p:spPr>
          <a:xfrm>
            <a:off x="0" y="365760"/>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432F6B9F-42F3-5544-A181-CD7F37AEA563}"/>
              </a:ext>
            </a:extLst>
          </p:cNvPr>
          <p:cNvSpPr>
            <a:spLocks noGrp="1"/>
          </p:cNvSpPr>
          <p:nvPr>
            <p:ph type="sldNum" sz="quarter" idx="4"/>
          </p:nvPr>
        </p:nvSpPr>
        <p:spPr>
          <a:xfrm>
            <a:off x="274638" y="133411"/>
            <a:ext cx="211271" cy="120013"/>
          </a:xfrm>
          <a:prstGeom prst="rect">
            <a:avLst/>
          </a:prstGeom>
        </p:spPr>
        <p:txBody>
          <a:bodyPr vert="horz" lIns="0" tIns="0" rIns="0" bIns="0" rtlCol="0" anchor="ctr"/>
          <a:lstStyle>
            <a:lvl1pPr algn="l">
              <a:defRPr sz="500" b="1" i="0" spc="50" baseline="0">
                <a:solidFill>
                  <a:schemeClr val="bg1"/>
                </a:solidFill>
                <a:latin typeface="+mn-lt"/>
                <a:cs typeface="Arial" panose="020B0604020202020204" pitchFamily="34" charset="0"/>
              </a:defRPr>
            </a:lvl1pPr>
          </a:lstStyle>
          <a:p>
            <a:fld id="{4571BA12-316B-0A40-BB3D-1A8CDD33E9E5}" type="slidenum">
              <a:rPr lang="en-US" smtClean="0"/>
              <a:pPr/>
              <a:t>‹#›</a:t>
            </a:fld>
            <a:endParaRPr lang="en-US" dirty="0"/>
          </a:p>
        </p:txBody>
      </p:sp>
      <p:sp>
        <p:nvSpPr>
          <p:cNvPr id="11" name="SUHO LIMITED RELEASE…">
            <a:extLst>
              <a:ext uri="{FF2B5EF4-FFF2-40B4-BE49-F238E27FC236}">
                <a16:creationId xmlns:a16="http://schemas.microsoft.com/office/drawing/2014/main" id="{FC751C3F-04DF-1449-9060-1DDD96A266AB}"/>
              </a:ext>
            </a:extLst>
          </p:cNvPr>
          <p:cNvSpPr txBox="1"/>
          <p:nvPr/>
        </p:nvSpPr>
        <p:spPr>
          <a:xfrm>
            <a:off x="6292066" y="141350"/>
            <a:ext cx="5625296" cy="9150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ctr">
            <a:spAutoFit/>
          </a:bodyPr>
          <a:lstStyle/>
          <a:p>
            <a:pPr algn="r">
              <a:lnSpc>
                <a:spcPts val="750"/>
              </a:lnSpc>
              <a:defRPr sz="1500" b="1" cap="all">
                <a:solidFill>
                  <a:srgbClr val="9F9F94"/>
                </a:solidFill>
              </a:defRPr>
            </a:pPr>
            <a:r>
              <a:rPr lang="en-US" sz="500" b="1" spc="50" baseline="0" dirty="0">
                <a:solidFill>
                  <a:schemeClr val="bg1"/>
                </a:solidFill>
                <a:latin typeface="+mn-lt"/>
                <a:ea typeface="Helvetica Neue" panose="02000503000000020004" pitchFamily="2" charset="0"/>
                <a:cs typeface="Arial" panose="020B0604020202020204" pitchFamily="34" charset="0"/>
              </a:rPr>
              <a:t>© 2022 Western Digital Corporation or its affiliates  All rights reserved</a:t>
            </a:r>
          </a:p>
        </p:txBody>
      </p:sp>
      <p:sp>
        <p:nvSpPr>
          <p:cNvPr id="13" name="SUHO LIMITED RELEASE…">
            <a:extLst>
              <a:ext uri="{FF2B5EF4-FFF2-40B4-BE49-F238E27FC236}">
                <a16:creationId xmlns:a16="http://schemas.microsoft.com/office/drawing/2014/main" id="{04EA33A1-7701-9849-954B-04B978BDB7DC}"/>
              </a:ext>
            </a:extLst>
          </p:cNvPr>
          <p:cNvSpPr txBox="1"/>
          <p:nvPr/>
        </p:nvSpPr>
        <p:spPr>
          <a:xfrm>
            <a:off x="542925" y="141286"/>
            <a:ext cx="1515387" cy="9156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ctr">
            <a:spAutoFit/>
          </a:bodyPr>
          <a:lstStyle/>
          <a:p>
            <a:pPr algn="l">
              <a:lnSpc>
                <a:spcPts val="750"/>
              </a:lnSpc>
              <a:defRPr sz="1500" b="1" cap="all">
                <a:solidFill>
                  <a:srgbClr val="9F9F94"/>
                </a:solidFill>
              </a:defRPr>
            </a:pPr>
            <a:r>
              <a:rPr lang="en-US" sz="500" b="1" spc="50" baseline="0" dirty="0">
                <a:solidFill>
                  <a:schemeClr val="bg1"/>
                </a:solidFill>
                <a:latin typeface="+mn-lt"/>
                <a:ea typeface="Helvetica Neue" panose="02000503000000020004" pitchFamily="2" charset="0"/>
                <a:cs typeface="Arial" panose="020B0604020202020204" pitchFamily="34" charset="0"/>
              </a:rPr>
              <a:t>WESTERN DIGITAL CONFIDENTIAL</a:t>
            </a:r>
          </a:p>
        </p:txBody>
      </p:sp>
    </p:spTree>
    <p:extLst>
      <p:ext uri="{BB962C8B-B14F-4D97-AF65-F5344CB8AC3E}">
        <p14:creationId xmlns:p14="http://schemas.microsoft.com/office/powerpoint/2010/main" val="1767840870"/>
      </p:ext>
    </p:extLst>
  </p:cSld>
  <p:clrMapOvr>
    <a:masterClrMapping/>
  </p:clrMapOvr>
  <p:transition>
    <p:fade/>
  </p:transition>
  <p:hf hdr="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Alternate Title">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AA441DBF-3234-8AE4-C3DE-3D3DEA127BBA}"/>
              </a:ext>
            </a:extLst>
          </p:cNvPr>
          <p:cNvSpPr/>
          <p:nvPr userDrawn="1"/>
        </p:nvSpPr>
        <p:spPr>
          <a:xfrm>
            <a:off x="0" y="0"/>
            <a:ext cx="12192000" cy="6858000"/>
          </a:xfrm>
          <a:prstGeom prst="rect">
            <a:avLst/>
          </a:prstGeom>
          <a:gradFill>
            <a:gsLst>
              <a:gs pos="0">
                <a:schemeClr val="accent1"/>
              </a:gs>
              <a:gs pos="50000">
                <a:schemeClr val="accent2"/>
              </a:gs>
              <a:gs pos="100000">
                <a:schemeClr val="accent3"/>
              </a:gs>
            </a:gsLst>
            <a:lin ang="81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E4D09D9B-F3E0-85A8-4CDC-B8A5754A1614}"/>
              </a:ext>
            </a:extLst>
          </p:cNvPr>
          <p:cNvPicPr>
            <a:picLocks noChangeAspect="1"/>
          </p:cNvPicPr>
          <p:nvPr userDrawn="1"/>
        </p:nvPicPr>
        <p:blipFill rotWithShape="1">
          <a:blip r:embed="rId2">
            <a:extLst>
              <a:ext uri="{28A0092B-C50C-407E-A947-70E740481C1C}">
                <a14:useLocalDpi xmlns:a14="http://schemas.microsoft.com/office/drawing/2010/main"/>
              </a:ext>
            </a:extLst>
          </a:blip>
          <a:srcRect b="71038"/>
          <a:stretch/>
        </p:blipFill>
        <p:spPr>
          <a:xfrm>
            <a:off x="0" y="-17218"/>
            <a:ext cx="12192000" cy="1986221"/>
          </a:xfrm>
          <a:prstGeom prst="rect">
            <a:avLst/>
          </a:prstGeom>
        </p:spPr>
      </p:pic>
      <p:pic>
        <p:nvPicPr>
          <p:cNvPr id="4" name="Picture 3">
            <a:extLst>
              <a:ext uri="{FF2B5EF4-FFF2-40B4-BE49-F238E27FC236}">
                <a16:creationId xmlns:a16="http://schemas.microsoft.com/office/drawing/2014/main" id="{A99715E0-7246-8D82-27A0-7BB17B618477}"/>
              </a:ext>
            </a:extLst>
          </p:cNvPr>
          <p:cNvPicPr>
            <a:picLocks noChangeAspect="1"/>
          </p:cNvPicPr>
          <p:nvPr userDrawn="1"/>
        </p:nvPicPr>
        <p:blipFill rotWithShape="1">
          <a:blip r:embed="rId2">
            <a:extLst>
              <a:ext uri="{28A0092B-C50C-407E-A947-70E740481C1C}">
                <a14:useLocalDpi xmlns:a14="http://schemas.microsoft.com/office/drawing/2010/main"/>
              </a:ext>
            </a:extLst>
          </a:blip>
          <a:srcRect l="66277" t="29088"/>
          <a:stretch/>
        </p:blipFill>
        <p:spPr>
          <a:xfrm>
            <a:off x="8080516" y="1973240"/>
            <a:ext cx="4111484" cy="4881453"/>
          </a:xfrm>
          <a:prstGeom prst="rect">
            <a:avLst/>
          </a:prstGeom>
        </p:spPr>
      </p:pic>
      <p:pic>
        <p:nvPicPr>
          <p:cNvPr id="5" name="Picture 4">
            <a:extLst>
              <a:ext uri="{FF2B5EF4-FFF2-40B4-BE49-F238E27FC236}">
                <a16:creationId xmlns:a16="http://schemas.microsoft.com/office/drawing/2014/main" id="{5145FBCB-B368-5522-2610-DE5EE5300AE9}"/>
              </a:ext>
            </a:extLst>
          </p:cNvPr>
          <p:cNvPicPr>
            <a:picLocks noChangeAspect="1"/>
          </p:cNvPicPr>
          <p:nvPr userDrawn="1"/>
        </p:nvPicPr>
        <p:blipFill rotWithShape="1">
          <a:blip r:embed="rId3">
            <a:extLst>
              <a:ext uri="{28A0092B-C50C-407E-A947-70E740481C1C}">
                <a14:useLocalDpi xmlns:a14="http://schemas.microsoft.com/office/drawing/2010/main"/>
              </a:ext>
            </a:extLst>
          </a:blip>
          <a:srcRect t="29429" r="33693"/>
          <a:stretch/>
        </p:blipFill>
        <p:spPr>
          <a:xfrm>
            <a:off x="11268" y="1972310"/>
            <a:ext cx="8069238" cy="4885689"/>
          </a:xfrm>
          <a:prstGeom prst="rect">
            <a:avLst/>
          </a:prstGeom>
        </p:spPr>
      </p:pic>
      <p:sp>
        <p:nvSpPr>
          <p:cNvPr id="17" name="object 30">
            <a:extLst>
              <a:ext uri="{FF2B5EF4-FFF2-40B4-BE49-F238E27FC236}">
                <a16:creationId xmlns:a16="http://schemas.microsoft.com/office/drawing/2014/main" id="{1E15D763-8CCB-3D1A-89AE-1B4BDE9C3BE4}"/>
              </a:ext>
            </a:extLst>
          </p:cNvPr>
          <p:cNvSpPr/>
          <p:nvPr userDrawn="1"/>
        </p:nvSpPr>
        <p:spPr>
          <a:xfrm>
            <a:off x="0" y="1969007"/>
            <a:ext cx="12192000" cy="0"/>
          </a:xfrm>
          <a:custGeom>
            <a:avLst/>
            <a:gdLst/>
            <a:ahLst/>
            <a:cxnLst/>
            <a:rect l="l" t="t" r="r" b="b"/>
            <a:pathLst>
              <a:path w="12192000">
                <a:moveTo>
                  <a:pt x="0" y="0"/>
                </a:moveTo>
                <a:lnTo>
                  <a:pt x="12192000" y="0"/>
                </a:lnTo>
              </a:path>
            </a:pathLst>
          </a:custGeom>
          <a:ln w="6350">
            <a:solidFill>
              <a:srgbClr val="F9F9F9"/>
            </a:solidFill>
          </a:ln>
        </p:spPr>
        <p:txBody>
          <a:bodyPr wrap="square" lIns="0" tIns="0" rIns="0" bIns="0" rtlCol="0"/>
          <a:lstStyle/>
          <a:p>
            <a:endParaRPr/>
          </a:p>
        </p:txBody>
      </p:sp>
      <p:sp>
        <p:nvSpPr>
          <p:cNvPr id="18" name="object 31">
            <a:extLst>
              <a:ext uri="{FF2B5EF4-FFF2-40B4-BE49-F238E27FC236}">
                <a16:creationId xmlns:a16="http://schemas.microsoft.com/office/drawing/2014/main" id="{6D901917-485E-B09B-D5EA-FF92CCCA49D6}"/>
              </a:ext>
            </a:extLst>
          </p:cNvPr>
          <p:cNvSpPr/>
          <p:nvPr userDrawn="1"/>
        </p:nvSpPr>
        <p:spPr>
          <a:xfrm>
            <a:off x="8086343" y="1969007"/>
            <a:ext cx="0" cy="4885690"/>
          </a:xfrm>
          <a:custGeom>
            <a:avLst/>
            <a:gdLst/>
            <a:ahLst/>
            <a:cxnLst/>
            <a:rect l="l" t="t" r="r" b="b"/>
            <a:pathLst>
              <a:path h="4885690">
                <a:moveTo>
                  <a:pt x="0" y="0"/>
                </a:moveTo>
                <a:lnTo>
                  <a:pt x="0" y="4885453"/>
                </a:lnTo>
              </a:path>
            </a:pathLst>
          </a:custGeom>
          <a:ln w="6350">
            <a:solidFill>
              <a:srgbClr val="F9F9F9"/>
            </a:solidFill>
          </a:ln>
        </p:spPr>
        <p:txBody>
          <a:bodyPr wrap="square" lIns="0" tIns="0" rIns="0" bIns="0" rtlCol="0"/>
          <a:lstStyle/>
          <a:p>
            <a:endParaRPr/>
          </a:p>
        </p:txBody>
      </p:sp>
      <p:grpSp>
        <p:nvGrpSpPr>
          <p:cNvPr id="36" name="Group 35">
            <a:extLst>
              <a:ext uri="{FF2B5EF4-FFF2-40B4-BE49-F238E27FC236}">
                <a16:creationId xmlns:a16="http://schemas.microsoft.com/office/drawing/2014/main" id="{2E7FA8AE-0F47-67CB-5892-BACCA2E73E7C}"/>
              </a:ext>
            </a:extLst>
          </p:cNvPr>
          <p:cNvGrpSpPr/>
          <p:nvPr userDrawn="1"/>
        </p:nvGrpSpPr>
        <p:grpSpPr>
          <a:xfrm>
            <a:off x="274637" y="1145823"/>
            <a:ext cx="4851819" cy="543050"/>
            <a:chOff x="323684" y="2194560"/>
            <a:chExt cx="4851819" cy="543050"/>
          </a:xfrm>
        </p:grpSpPr>
        <p:sp>
          <p:nvSpPr>
            <p:cNvPr id="62" name="object 32">
              <a:extLst>
                <a:ext uri="{FF2B5EF4-FFF2-40B4-BE49-F238E27FC236}">
                  <a16:creationId xmlns:a16="http://schemas.microsoft.com/office/drawing/2014/main" id="{75912714-2D80-863F-A369-52A3F0C9959A}"/>
                </a:ext>
              </a:extLst>
            </p:cNvPr>
            <p:cNvSpPr/>
            <p:nvPr/>
          </p:nvSpPr>
          <p:spPr>
            <a:xfrm>
              <a:off x="1191768" y="2202179"/>
              <a:ext cx="3863340" cy="428625"/>
            </a:xfrm>
            <a:custGeom>
              <a:avLst/>
              <a:gdLst/>
              <a:ahLst/>
              <a:cxnLst/>
              <a:rect l="l" t="t" r="r" b="b"/>
              <a:pathLst>
                <a:path w="3863340" h="428625">
                  <a:moveTo>
                    <a:pt x="586740" y="0"/>
                  </a:moveTo>
                  <a:lnTo>
                    <a:pt x="504698" y="0"/>
                  </a:lnTo>
                  <a:lnTo>
                    <a:pt x="428244" y="299720"/>
                  </a:lnTo>
                  <a:lnTo>
                    <a:pt x="351790" y="0"/>
                  </a:lnTo>
                  <a:lnTo>
                    <a:pt x="246507" y="0"/>
                  </a:lnTo>
                  <a:lnTo>
                    <a:pt x="167894" y="308356"/>
                  </a:lnTo>
                  <a:lnTo>
                    <a:pt x="89281" y="0"/>
                  </a:lnTo>
                  <a:lnTo>
                    <a:pt x="0" y="0"/>
                  </a:lnTo>
                  <a:lnTo>
                    <a:pt x="108712" y="420624"/>
                  </a:lnTo>
                  <a:lnTo>
                    <a:pt x="220472" y="420624"/>
                  </a:lnTo>
                  <a:lnTo>
                    <a:pt x="296545" y="122555"/>
                  </a:lnTo>
                  <a:lnTo>
                    <a:pt x="372618" y="420624"/>
                  </a:lnTo>
                  <a:lnTo>
                    <a:pt x="478028" y="420624"/>
                  </a:lnTo>
                  <a:lnTo>
                    <a:pt x="586740" y="0"/>
                  </a:lnTo>
                  <a:close/>
                </a:path>
                <a:path w="3863340" h="428625">
                  <a:moveTo>
                    <a:pt x="851916" y="299212"/>
                  </a:moveTo>
                  <a:lnTo>
                    <a:pt x="851789" y="273558"/>
                  </a:lnTo>
                  <a:lnTo>
                    <a:pt x="847813" y="241046"/>
                  </a:lnTo>
                  <a:lnTo>
                    <a:pt x="846239" y="228066"/>
                  </a:lnTo>
                  <a:lnTo>
                    <a:pt x="829360" y="186029"/>
                  </a:lnTo>
                  <a:lnTo>
                    <a:pt x="823544" y="178943"/>
                  </a:lnTo>
                  <a:lnTo>
                    <a:pt x="800811" y="151269"/>
                  </a:lnTo>
                  <a:lnTo>
                    <a:pt x="767969" y="132130"/>
                  </a:lnTo>
                  <a:lnTo>
                    <a:pt x="767969" y="241046"/>
                  </a:lnTo>
                  <a:lnTo>
                    <a:pt x="645922" y="241046"/>
                  </a:lnTo>
                  <a:lnTo>
                    <a:pt x="651192" y="217474"/>
                  </a:lnTo>
                  <a:lnTo>
                    <a:pt x="662724" y="197662"/>
                  </a:lnTo>
                  <a:lnTo>
                    <a:pt x="681189" y="184023"/>
                  </a:lnTo>
                  <a:lnTo>
                    <a:pt x="707263" y="178943"/>
                  </a:lnTo>
                  <a:lnTo>
                    <a:pt x="732205" y="183705"/>
                  </a:lnTo>
                  <a:lnTo>
                    <a:pt x="750570" y="196811"/>
                  </a:lnTo>
                  <a:lnTo>
                    <a:pt x="762444" y="216509"/>
                  </a:lnTo>
                  <a:lnTo>
                    <a:pt x="767969" y="241046"/>
                  </a:lnTo>
                  <a:lnTo>
                    <a:pt x="767969" y="132130"/>
                  </a:lnTo>
                  <a:lnTo>
                    <a:pt x="760234" y="127609"/>
                  </a:lnTo>
                  <a:lnTo>
                    <a:pt x="707263" y="118872"/>
                  </a:lnTo>
                  <a:lnTo>
                    <a:pt x="658101" y="126542"/>
                  </a:lnTo>
                  <a:lnTo>
                    <a:pt x="617905" y="148056"/>
                  </a:lnTo>
                  <a:lnTo>
                    <a:pt x="587794" y="181203"/>
                  </a:lnTo>
                  <a:lnTo>
                    <a:pt x="568896" y="223774"/>
                  </a:lnTo>
                  <a:lnTo>
                    <a:pt x="562356" y="273558"/>
                  </a:lnTo>
                  <a:lnTo>
                    <a:pt x="568833" y="322859"/>
                  </a:lnTo>
                  <a:lnTo>
                    <a:pt x="587730" y="365379"/>
                  </a:lnTo>
                  <a:lnTo>
                    <a:pt x="618223" y="398703"/>
                  </a:lnTo>
                  <a:lnTo>
                    <a:pt x="659523" y="420471"/>
                  </a:lnTo>
                  <a:lnTo>
                    <a:pt x="710819" y="428244"/>
                  </a:lnTo>
                  <a:lnTo>
                    <a:pt x="763168" y="420382"/>
                  </a:lnTo>
                  <a:lnTo>
                    <a:pt x="799045" y="401866"/>
                  </a:lnTo>
                  <a:lnTo>
                    <a:pt x="820966" y="380352"/>
                  </a:lnTo>
                  <a:lnTo>
                    <a:pt x="828624" y="368046"/>
                  </a:lnTo>
                  <a:lnTo>
                    <a:pt x="831469" y="363474"/>
                  </a:lnTo>
                  <a:lnTo>
                    <a:pt x="774954" y="330835"/>
                  </a:lnTo>
                  <a:lnTo>
                    <a:pt x="769734" y="339712"/>
                  </a:lnTo>
                  <a:lnTo>
                    <a:pt x="758698" y="352158"/>
                  </a:lnTo>
                  <a:lnTo>
                    <a:pt x="739838" y="363258"/>
                  </a:lnTo>
                  <a:lnTo>
                    <a:pt x="711200" y="368046"/>
                  </a:lnTo>
                  <a:lnTo>
                    <a:pt x="685888" y="362940"/>
                  </a:lnTo>
                  <a:lnTo>
                    <a:pt x="665810" y="348678"/>
                  </a:lnTo>
                  <a:lnTo>
                    <a:pt x="652132" y="326898"/>
                  </a:lnTo>
                  <a:lnTo>
                    <a:pt x="646049" y="299212"/>
                  </a:lnTo>
                  <a:lnTo>
                    <a:pt x="851916" y="299212"/>
                  </a:lnTo>
                  <a:close/>
                </a:path>
                <a:path w="3863340" h="428625">
                  <a:moveTo>
                    <a:pt x="1121664" y="335534"/>
                  </a:moveTo>
                  <a:lnTo>
                    <a:pt x="1097064" y="274688"/>
                  </a:lnTo>
                  <a:lnTo>
                    <a:pt x="1038860" y="243459"/>
                  </a:lnTo>
                  <a:lnTo>
                    <a:pt x="991108" y="228727"/>
                  </a:lnTo>
                  <a:lnTo>
                    <a:pt x="977709" y="222885"/>
                  </a:lnTo>
                  <a:lnTo>
                    <a:pt x="968108" y="214566"/>
                  </a:lnTo>
                  <a:lnTo>
                    <a:pt x="964438" y="202438"/>
                  </a:lnTo>
                  <a:lnTo>
                    <a:pt x="966939" y="192811"/>
                  </a:lnTo>
                  <a:lnTo>
                    <a:pt x="974305" y="185483"/>
                  </a:lnTo>
                  <a:lnTo>
                    <a:pt x="986294" y="180835"/>
                  </a:lnTo>
                  <a:lnTo>
                    <a:pt x="1002665" y="179197"/>
                  </a:lnTo>
                  <a:lnTo>
                    <a:pt x="1027353" y="182803"/>
                  </a:lnTo>
                  <a:lnTo>
                    <a:pt x="1044079" y="191350"/>
                  </a:lnTo>
                  <a:lnTo>
                    <a:pt x="1054544" y="201434"/>
                  </a:lnTo>
                  <a:lnTo>
                    <a:pt x="1060450" y="209677"/>
                  </a:lnTo>
                  <a:lnTo>
                    <a:pt x="1114298" y="173355"/>
                  </a:lnTo>
                  <a:lnTo>
                    <a:pt x="1104480" y="159867"/>
                  </a:lnTo>
                  <a:lnTo>
                    <a:pt x="1083437" y="141693"/>
                  </a:lnTo>
                  <a:lnTo>
                    <a:pt x="1048004" y="125730"/>
                  </a:lnTo>
                  <a:lnTo>
                    <a:pt x="995045" y="118872"/>
                  </a:lnTo>
                  <a:lnTo>
                    <a:pt x="950874" y="124790"/>
                  </a:lnTo>
                  <a:lnTo>
                    <a:pt x="914501" y="142049"/>
                  </a:lnTo>
                  <a:lnTo>
                    <a:pt x="889825" y="169989"/>
                  </a:lnTo>
                  <a:lnTo>
                    <a:pt x="880745" y="207899"/>
                  </a:lnTo>
                  <a:lnTo>
                    <a:pt x="887387" y="242735"/>
                  </a:lnTo>
                  <a:lnTo>
                    <a:pt x="905205" y="268566"/>
                  </a:lnTo>
                  <a:lnTo>
                    <a:pt x="930935" y="286893"/>
                  </a:lnTo>
                  <a:lnTo>
                    <a:pt x="961390" y="299212"/>
                  </a:lnTo>
                  <a:lnTo>
                    <a:pt x="997839" y="310388"/>
                  </a:lnTo>
                  <a:lnTo>
                    <a:pt x="1013637" y="315823"/>
                  </a:lnTo>
                  <a:lnTo>
                    <a:pt x="1026375" y="322033"/>
                  </a:lnTo>
                  <a:lnTo>
                    <a:pt x="1034872" y="330161"/>
                  </a:lnTo>
                  <a:lnTo>
                    <a:pt x="1037971" y="341376"/>
                  </a:lnTo>
                  <a:lnTo>
                    <a:pt x="1034770" y="352145"/>
                  </a:lnTo>
                  <a:lnTo>
                    <a:pt x="1025474" y="360578"/>
                  </a:lnTo>
                  <a:lnTo>
                    <a:pt x="1010475" y="366077"/>
                  </a:lnTo>
                  <a:lnTo>
                    <a:pt x="990219" y="368046"/>
                  </a:lnTo>
                  <a:lnTo>
                    <a:pt x="964679" y="364185"/>
                  </a:lnTo>
                  <a:lnTo>
                    <a:pt x="946150" y="354926"/>
                  </a:lnTo>
                  <a:lnTo>
                    <a:pt x="933704" y="343776"/>
                  </a:lnTo>
                  <a:lnTo>
                    <a:pt x="926465" y="334264"/>
                  </a:lnTo>
                  <a:lnTo>
                    <a:pt x="870204" y="365887"/>
                  </a:lnTo>
                  <a:lnTo>
                    <a:pt x="879513" y="381419"/>
                  </a:lnTo>
                  <a:lnTo>
                    <a:pt x="901382" y="402209"/>
                  </a:lnTo>
                  <a:lnTo>
                    <a:pt x="938961" y="420433"/>
                  </a:lnTo>
                  <a:lnTo>
                    <a:pt x="995426" y="428244"/>
                  </a:lnTo>
                  <a:lnTo>
                    <a:pt x="1043914" y="422770"/>
                  </a:lnTo>
                  <a:lnTo>
                    <a:pt x="1084110" y="405892"/>
                  </a:lnTo>
                  <a:lnTo>
                    <a:pt x="1111529" y="377024"/>
                  </a:lnTo>
                  <a:lnTo>
                    <a:pt x="1121664" y="335534"/>
                  </a:lnTo>
                  <a:close/>
                </a:path>
                <a:path w="3863340" h="428625">
                  <a:moveTo>
                    <a:pt x="1306068" y="128143"/>
                  </a:moveTo>
                  <a:lnTo>
                    <a:pt x="1240282" y="128143"/>
                  </a:lnTo>
                  <a:lnTo>
                    <a:pt x="1240282" y="54864"/>
                  </a:lnTo>
                  <a:lnTo>
                    <a:pt x="1156716" y="54864"/>
                  </a:lnTo>
                  <a:lnTo>
                    <a:pt x="1156716" y="329438"/>
                  </a:lnTo>
                  <a:lnTo>
                    <a:pt x="1161148" y="368236"/>
                  </a:lnTo>
                  <a:lnTo>
                    <a:pt x="1176020" y="399605"/>
                  </a:lnTo>
                  <a:lnTo>
                    <a:pt x="1203642" y="420598"/>
                  </a:lnTo>
                  <a:lnTo>
                    <a:pt x="1246378" y="428244"/>
                  </a:lnTo>
                  <a:lnTo>
                    <a:pt x="1267853" y="427075"/>
                  </a:lnTo>
                  <a:lnTo>
                    <a:pt x="1285328" y="424395"/>
                  </a:lnTo>
                  <a:lnTo>
                    <a:pt x="1297813" y="421449"/>
                  </a:lnTo>
                  <a:lnTo>
                    <a:pt x="1304290" y="419481"/>
                  </a:lnTo>
                  <a:lnTo>
                    <a:pt x="1304290" y="369189"/>
                  </a:lnTo>
                  <a:lnTo>
                    <a:pt x="1302004" y="369824"/>
                  </a:lnTo>
                  <a:lnTo>
                    <a:pt x="1294257" y="371094"/>
                  </a:lnTo>
                  <a:lnTo>
                    <a:pt x="1280795" y="371094"/>
                  </a:lnTo>
                  <a:lnTo>
                    <a:pt x="1263802" y="367982"/>
                  </a:lnTo>
                  <a:lnTo>
                    <a:pt x="1251051" y="359257"/>
                  </a:lnTo>
                  <a:lnTo>
                    <a:pt x="1243050" y="345808"/>
                  </a:lnTo>
                  <a:lnTo>
                    <a:pt x="1240282" y="328549"/>
                  </a:lnTo>
                  <a:lnTo>
                    <a:pt x="1240282" y="186182"/>
                  </a:lnTo>
                  <a:lnTo>
                    <a:pt x="1306068" y="186182"/>
                  </a:lnTo>
                  <a:lnTo>
                    <a:pt x="1306068" y="128143"/>
                  </a:lnTo>
                  <a:close/>
                </a:path>
                <a:path w="3863340" h="428625">
                  <a:moveTo>
                    <a:pt x="1603248" y="273558"/>
                  </a:moveTo>
                  <a:lnTo>
                    <a:pt x="1599260" y="241046"/>
                  </a:lnTo>
                  <a:lnTo>
                    <a:pt x="1597660" y="228066"/>
                  </a:lnTo>
                  <a:lnTo>
                    <a:pt x="1580705" y="186029"/>
                  </a:lnTo>
                  <a:lnTo>
                    <a:pt x="1574850" y="178943"/>
                  </a:lnTo>
                  <a:lnTo>
                    <a:pt x="1552003" y="151269"/>
                  </a:lnTo>
                  <a:lnTo>
                    <a:pt x="1519047" y="132168"/>
                  </a:lnTo>
                  <a:lnTo>
                    <a:pt x="1519047" y="241046"/>
                  </a:lnTo>
                  <a:lnTo>
                    <a:pt x="1396111" y="241046"/>
                  </a:lnTo>
                  <a:lnTo>
                    <a:pt x="1401483" y="217474"/>
                  </a:lnTo>
                  <a:lnTo>
                    <a:pt x="1413129" y="197662"/>
                  </a:lnTo>
                  <a:lnTo>
                    <a:pt x="1431721" y="184023"/>
                  </a:lnTo>
                  <a:lnTo>
                    <a:pt x="1457960" y="178943"/>
                  </a:lnTo>
                  <a:lnTo>
                    <a:pt x="1483017" y="183705"/>
                  </a:lnTo>
                  <a:lnTo>
                    <a:pt x="1501495" y="196811"/>
                  </a:lnTo>
                  <a:lnTo>
                    <a:pt x="1513484" y="216509"/>
                  </a:lnTo>
                  <a:lnTo>
                    <a:pt x="1519047" y="241046"/>
                  </a:lnTo>
                  <a:lnTo>
                    <a:pt x="1519047" y="132168"/>
                  </a:lnTo>
                  <a:lnTo>
                    <a:pt x="1511198" y="127609"/>
                  </a:lnTo>
                  <a:lnTo>
                    <a:pt x="1457960" y="118872"/>
                  </a:lnTo>
                  <a:lnTo>
                    <a:pt x="1408455" y="126542"/>
                  </a:lnTo>
                  <a:lnTo>
                    <a:pt x="1368005" y="148056"/>
                  </a:lnTo>
                  <a:lnTo>
                    <a:pt x="1337729" y="181203"/>
                  </a:lnTo>
                  <a:lnTo>
                    <a:pt x="1318742" y="223774"/>
                  </a:lnTo>
                  <a:lnTo>
                    <a:pt x="1312164" y="273558"/>
                  </a:lnTo>
                  <a:lnTo>
                    <a:pt x="1318679" y="322859"/>
                  </a:lnTo>
                  <a:lnTo>
                    <a:pt x="1337703" y="365379"/>
                  </a:lnTo>
                  <a:lnTo>
                    <a:pt x="1368399" y="398703"/>
                  </a:lnTo>
                  <a:lnTo>
                    <a:pt x="1409941" y="420471"/>
                  </a:lnTo>
                  <a:lnTo>
                    <a:pt x="1461516" y="428244"/>
                  </a:lnTo>
                  <a:lnTo>
                    <a:pt x="1514119" y="420382"/>
                  </a:lnTo>
                  <a:lnTo>
                    <a:pt x="1550200" y="401866"/>
                  </a:lnTo>
                  <a:lnTo>
                    <a:pt x="1572260" y="380352"/>
                  </a:lnTo>
                  <a:lnTo>
                    <a:pt x="1579943" y="368046"/>
                  </a:lnTo>
                  <a:lnTo>
                    <a:pt x="1582801" y="363474"/>
                  </a:lnTo>
                  <a:lnTo>
                    <a:pt x="1526032" y="330835"/>
                  </a:lnTo>
                  <a:lnTo>
                    <a:pt x="1520736" y="339712"/>
                  </a:lnTo>
                  <a:lnTo>
                    <a:pt x="1509623" y="352158"/>
                  </a:lnTo>
                  <a:lnTo>
                    <a:pt x="1490687" y="363258"/>
                  </a:lnTo>
                  <a:lnTo>
                    <a:pt x="1461897" y="368046"/>
                  </a:lnTo>
                  <a:lnTo>
                    <a:pt x="1436420" y="362940"/>
                  </a:lnTo>
                  <a:lnTo>
                    <a:pt x="1416202" y="348678"/>
                  </a:lnTo>
                  <a:lnTo>
                    <a:pt x="1402422" y="326898"/>
                  </a:lnTo>
                  <a:lnTo>
                    <a:pt x="1396238" y="299212"/>
                  </a:lnTo>
                  <a:lnTo>
                    <a:pt x="1603248" y="299212"/>
                  </a:lnTo>
                  <a:lnTo>
                    <a:pt x="1603248" y="273558"/>
                  </a:lnTo>
                  <a:close/>
                </a:path>
                <a:path w="3863340" h="428625">
                  <a:moveTo>
                    <a:pt x="1818132" y="118872"/>
                  </a:moveTo>
                  <a:lnTo>
                    <a:pt x="1771205" y="125780"/>
                  </a:lnTo>
                  <a:lnTo>
                    <a:pt x="1741817" y="141973"/>
                  </a:lnTo>
                  <a:lnTo>
                    <a:pt x="1725599" y="160718"/>
                  </a:lnTo>
                  <a:lnTo>
                    <a:pt x="1718183" y="175260"/>
                  </a:lnTo>
                  <a:lnTo>
                    <a:pt x="1716913" y="175260"/>
                  </a:lnTo>
                  <a:lnTo>
                    <a:pt x="1716913" y="127635"/>
                  </a:lnTo>
                  <a:lnTo>
                    <a:pt x="1641348" y="127635"/>
                  </a:lnTo>
                  <a:lnTo>
                    <a:pt x="1641348" y="420624"/>
                  </a:lnTo>
                  <a:lnTo>
                    <a:pt x="1725803" y="420624"/>
                  </a:lnTo>
                  <a:lnTo>
                    <a:pt x="1725803" y="275209"/>
                  </a:lnTo>
                  <a:lnTo>
                    <a:pt x="1733130" y="234746"/>
                  </a:lnTo>
                  <a:lnTo>
                    <a:pt x="1753044" y="207149"/>
                  </a:lnTo>
                  <a:lnTo>
                    <a:pt x="1782381" y="191350"/>
                  </a:lnTo>
                  <a:lnTo>
                    <a:pt x="1818005" y="186309"/>
                  </a:lnTo>
                  <a:lnTo>
                    <a:pt x="1818017" y="175260"/>
                  </a:lnTo>
                  <a:lnTo>
                    <a:pt x="1818132" y="118872"/>
                  </a:lnTo>
                  <a:close/>
                </a:path>
                <a:path w="3863340" h="428625">
                  <a:moveTo>
                    <a:pt x="2119884" y="224663"/>
                  </a:moveTo>
                  <a:lnTo>
                    <a:pt x="2114016" y="185928"/>
                  </a:lnTo>
                  <a:lnTo>
                    <a:pt x="2094191" y="149098"/>
                  </a:lnTo>
                  <a:lnTo>
                    <a:pt x="2061591" y="126911"/>
                  </a:lnTo>
                  <a:lnTo>
                    <a:pt x="2015363" y="118872"/>
                  </a:lnTo>
                  <a:lnTo>
                    <a:pt x="1978685" y="124434"/>
                  </a:lnTo>
                  <a:lnTo>
                    <a:pt x="1953933" y="137375"/>
                  </a:lnTo>
                  <a:lnTo>
                    <a:pt x="1938972" y="152146"/>
                  </a:lnTo>
                  <a:lnTo>
                    <a:pt x="1931670" y="163195"/>
                  </a:lnTo>
                  <a:lnTo>
                    <a:pt x="1930400" y="163195"/>
                  </a:lnTo>
                  <a:lnTo>
                    <a:pt x="1930654" y="127635"/>
                  </a:lnTo>
                  <a:lnTo>
                    <a:pt x="1847088" y="127635"/>
                  </a:lnTo>
                  <a:lnTo>
                    <a:pt x="1847088" y="420624"/>
                  </a:lnTo>
                  <a:lnTo>
                    <a:pt x="1931162" y="420624"/>
                  </a:lnTo>
                  <a:lnTo>
                    <a:pt x="1931162" y="244348"/>
                  </a:lnTo>
                  <a:lnTo>
                    <a:pt x="1934591" y="220383"/>
                  </a:lnTo>
                  <a:lnTo>
                    <a:pt x="1944649" y="201955"/>
                  </a:lnTo>
                  <a:lnTo>
                    <a:pt x="1960943" y="190119"/>
                  </a:lnTo>
                  <a:lnTo>
                    <a:pt x="1983105" y="185928"/>
                  </a:lnTo>
                  <a:lnTo>
                    <a:pt x="2007196" y="190741"/>
                  </a:lnTo>
                  <a:lnTo>
                    <a:pt x="2023554" y="203619"/>
                  </a:lnTo>
                  <a:lnTo>
                    <a:pt x="2032850" y="222262"/>
                  </a:lnTo>
                  <a:lnTo>
                    <a:pt x="2035810" y="244348"/>
                  </a:lnTo>
                  <a:lnTo>
                    <a:pt x="2035810" y="420624"/>
                  </a:lnTo>
                  <a:lnTo>
                    <a:pt x="2119884" y="420624"/>
                  </a:lnTo>
                  <a:lnTo>
                    <a:pt x="2119884" y="224663"/>
                  </a:lnTo>
                  <a:close/>
                </a:path>
                <a:path w="3863340" h="428625">
                  <a:moveTo>
                    <a:pt x="2636520" y="210185"/>
                  </a:moveTo>
                  <a:lnTo>
                    <a:pt x="2631567" y="152527"/>
                  </a:lnTo>
                  <a:lnTo>
                    <a:pt x="2617203" y="104597"/>
                  </a:lnTo>
                  <a:lnTo>
                    <a:pt x="2596273" y="69850"/>
                  </a:lnTo>
                  <a:lnTo>
                    <a:pt x="2594013" y="66090"/>
                  </a:lnTo>
                  <a:lnTo>
                    <a:pt x="2562568" y="36703"/>
                  </a:lnTo>
                  <a:lnTo>
                    <a:pt x="2544064" y="26974"/>
                  </a:lnTo>
                  <a:lnTo>
                    <a:pt x="2544064" y="210439"/>
                  </a:lnTo>
                  <a:lnTo>
                    <a:pt x="2541536" y="250698"/>
                  </a:lnTo>
                  <a:lnTo>
                    <a:pt x="2531491" y="288696"/>
                  </a:lnTo>
                  <a:lnTo>
                    <a:pt x="2510205" y="320624"/>
                  </a:lnTo>
                  <a:lnTo>
                    <a:pt x="2473972" y="342595"/>
                  </a:lnTo>
                  <a:lnTo>
                    <a:pt x="2419096" y="350774"/>
                  </a:lnTo>
                  <a:lnTo>
                    <a:pt x="2371471" y="350774"/>
                  </a:lnTo>
                  <a:lnTo>
                    <a:pt x="2371471" y="69850"/>
                  </a:lnTo>
                  <a:lnTo>
                    <a:pt x="2419096" y="69850"/>
                  </a:lnTo>
                  <a:lnTo>
                    <a:pt x="2473642" y="78041"/>
                  </a:lnTo>
                  <a:lnTo>
                    <a:pt x="2509824" y="100025"/>
                  </a:lnTo>
                  <a:lnTo>
                    <a:pt x="2531237" y="131991"/>
                  </a:lnTo>
                  <a:lnTo>
                    <a:pt x="2541447" y="170078"/>
                  </a:lnTo>
                  <a:lnTo>
                    <a:pt x="2544064" y="210439"/>
                  </a:lnTo>
                  <a:lnTo>
                    <a:pt x="2544064" y="26974"/>
                  </a:lnTo>
                  <a:lnTo>
                    <a:pt x="2523426" y="16103"/>
                  </a:lnTo>
                  <a:lnTo>
                    <a:pt x="2477198" y="3975"/>
                  </a:lnTo>
                  <a:lnTo>
                    <a:pt x="2424430" y="0"/>
                  </a:lnTo>
                  <a:lnTo>
                    <a:pt x="2281428" y="0"/>
                  </a:lnTo>
                  <a:lnTo>
                    <a:pt x="2281428" y="420624"/>
                  </a:lnTo>
                  <a:lnTo>
                    <a:pt x="2424430" y="420624"/>
                  </a:lnTo>
                  <a:lnTo>
                    <a:pt x="2471750" y="417588"/>
                  </a:lnTo>
                  <a:lnTo>
                    <a:pt x="2513711" y="408317"/>
                  </a:lnTo>
                  <a:lnTo>
                    <a:pt x="2550020" y="392620"/>
                  </a:lnTo>
                  <a:lnTo>
                    <a:pt x="2596477" y="350774"/>
                  </a:lnTo>
                  <a:lnTo>
                    <a:pt x="2604503" y="341071"/>
                  </a:lnTo>
                  <a:lnTo>
                    <a:pt x="2622092" y="304800"/>
                  </a:lnTo>
                  <a:lnTo>
                    <a:pt x="2632862" y="261239"/>
                  </a:lnTo>
                  <a:lnTo>
                    <a:pt x="2636520" y="210185"/>
                  </a:lnTo>
                  <a:close/>
                </a:path>
                <a:path w="3863340" h="428625">
                  <a:moveTo>
                    <a:pt x="3439668" y="128143"/>
                  </a:moveTo>
                  <a:lnTo>
                    <a:pt x="3373882" y="128143"/>
                  </a:lnTo>
                  <a:lnTo>
                    <a:pt x="3373882" y="54864"/>
                  </a:lnTo>
                  <a:lnTo>
                    <a:pt x="3290316" y="54864"/>
                  </a:lnTo>
                  <a:lnTo>
                    <a:pt x="3290316" y="329438"/>
                  </a:lnTo>
                  <a:lnTo>
                    <a:pt x="3294748" y="368236"/>
                  </a:lnTo>
                  <a:lnTo>
                    <a:pt x="3309620" y="399605"/>
                  </a:lnTo>
                  <a:lnTo>
                    <a:pt x="3337242" y="420598"/>
                  </a:lnTo>
                  <a:lnTo>
                    <a:pt x="3379978" y="428244"/>
                  </a:lnTo>
                  <a:lnTo>
                    <a:pt x="3401453" y="427075"/>
                  </a:lnTo>
                  <a:lnTo>
                    <a:pt x="3418929" y="424395"/>
                  </a:lnTo>
                  <a:lnTo>
                    <a:pt x="3431413" y="421449"/>
                  </a:lnTo>
                  <a:lnTo>
                    <a:pt x="3437890" y="419481"/>
                  </a:lnTo>
                  <a:lnTo>
                    <a:pt x="3437890" y="369189"/>
                  </a:lnTo>
                  <a:lnTo>
                    <a:pt x="3435604" y="369824"/>
                  </a:lnTo>
                  <a:lnTo>
                    <a:pt x="3427857" y="371094"/>
                  </a:lnTo>
                  <a:lnTo>
                    <a:pt x="3414395" y="371094"/>
                  </a:lnTo>
                  <a:lnTo>
                    <a:pt x="3397402" y="367982"/>
                  </a:lnTo>
                  <a:lnTo>
                    <a:pt x="3384651" y="359257"/>
                  </a:lnTo>
                  <a:lnTo>
                    <a:pt x="3376650" y="345808"/>
                  </a:lnTo>
                  <a:lnTo>
                    <a:pt x="3373882" y="328549"/>
                  </a:lnTo>
                  <a:lnTo>
                    <a:pt x="3373882" y="186182"/>
                  </a:lnTo>
                  <a:lnTo>
                    <a:pt x="3439668" y="186182"/>
                  </a:lnTo>
                  <a:lnTo>
                    <a:pt x="3439668" y="128143"/>
                  </a:lnTo>
                  <a:close/>
                </a:path>
                <a:path w="3863340" h="428625">
                  <a:moveTo>
                    <a:pt x="3863340" y="0"/>
                  </a:moveTo>
                  <a:lnTo>
                    <a:pt x="3777996" y="0"/>
                  </a:lnTo>
                  <a:lnTo>
                    <a:pt x="3777996" y="420624"/>
                  </a:lnTo>
                  <a:lnTo>
                    <a:pt x="3863340" y="420624"/>
                  </a:lnTo>
                  <a:lnTo>
                    <a:pt x="3863340" y="0"/>
                  </a:lnTo>
                  <a:close/>
                </a:path>
              </a:pathLst>
            </a:custGeom>
            <a:solidFill>
              <a:srgbClr val="F9F9F9"/>
            </a:solidFill>
          </p:spPr>
          <p:txBody>
            <a:bodyPr wrap="square" lIns="0" tIns="0" rIns="0" bIns="0" rtlCol="0"/>
            <a:lstStyle/>
            <a:p>
              <a:endParaRPr/>
            </a:p>
          </p:txBody>
        </p:sp>
        <p:pic>
          <p:nvPicPr>
            <p:cNvPr id="63" name="object 33">
              <a:extLst>
                <a:ext uri="{FF2B5EF4-FFF2-40B4-BE49-F238E27FC236}">
                  <a16:creationId xmlns:a16="http://schemas.microsoft.com/office/drawing/2014/main" id="{79C9045A-2739-692F-05FC-50820FFAC214}"/>
                </a:ext>
              </a:extLst>
            </p:cNvPr>
            <p:cNvPicPr/>
            <p:nvPr/>
          </p:nvPicPr>
          <p:blipFill>
            <a:blip r:embed="rId4" cstate="print"/>
            <a:stretch>
              <a:fillRect/>
            </a:stretch>
          </p:blipFill>
          <p:spPr>
            <a:xfrm>
              <a:off x="5102352" y="2558795"/>
              <a:ext cx="73151" cy="71627"/>
            </a:xfrm>
            <a:prstGeom prst="rect">
              <a:avLst/>
            </a:prstGeom>
          </p:spPr>
        </p:pic>
        <p:sp>
          <p:nvSpPr>
            <p:cNvPr id="64" name="object 34">
              <a:extLst>
                <a:ext uri="{FF2B5EF4-FFF2-40B4-BE49-F238E27FC236}">
                  <a16:creationId xmlns:a16="http://schemas.microsoft.com/office/drawing/2014/main" id="{9A25DFB0-015B-E563-3642-587BCC315F73}"/>
                </a:ext>
              </a:extLst>
            </p:cNvPr>
            <p:cNvSpPr/>
            <p:nvPr/>
          </p:nvSpPr>
          <p:spPr>
            <a:xfrm>
              <a:off x="3872484" y="2321051"/>
              <a:ext cx="1039494" cy="416559"/>
            </a:xfrm>
            <a:custGeom>
              <a:avLst/>
              <a:gdLst/>
              <a:ahLst/>
              <a:cxnLst/>
              <a:rect l="l" t="t" r="r" b="b"/>
              <a:pathLst>
                <a:path w="1039495" h="416560">
                  <a:moveTo>
                    <a:pt x="86868" y="9144"/>
                  </a:moveTo>
                  <a:lnTo>
                    <a:pt x="0" y="9144"/>
                  </a:lnTo>
                  <a:lnTo>
                    <a:pt x="0" y="301752"/>
                  </a:lnTo>
                  <a:lnTo>
                    <a:pt x="86868" y="301752"/>
                  </a:lnTo>
                  <a:lnTo>
                    <a:pt x="86868" y="9144"/>
                  </a:lnTo>
                  <a:close/>
                </a:path>
                <a:path w="1039495" h="416560">
                  <a:moveTo>
                    <a:pt x="413004" y="8763"/>
                  </a:moveTo>
                  <a:lnTo>
                    <a:pt x="329184" y="8763"/>
                  </a:lnTo>
                  <a:lnTo>
                    <a:pt x="329184" y="147574"/>
                  </a:lnTo>
                  <a:lnTo>
                    <a:pt x="326847" y="176758"/>
                  </a:lnTo>
                  <a:lnTo>
                    <a:pt x="318325" y="204063"/>
                  </a:lnTo>
                  <a:lnTo>
                    <a:pt x="301028" y="224269"/>
                  </a:lnTo>
                  <a:lnTo>
                    <a:pt x="272415" y="232156"/>
                  </a:lnTo>
                  <a:lnTo>
                    <a:pt x="243281" y="224256"/>
                  </a:lnTo>
                  <a:lnTo>
                    <a:pt x="226021" y="204012"/>
                  </a:lnTo>
                  <a:lnTo>
                    <a:pt x="217754" y="176707"/>
                  </a:lnTo>
                  <a:lnTo>
                    <a:pt x="215646" y="147574"/>
                  </a:lnTo>
                  <a:lnTo>
                    <a:pt x="218224" y="116154"/>
                  </a:lnTo>
                  <a:lnTo>
                    <a:pt x="227266" y="89103"/>
                  </a:lnTo>
                  <a:lnTo>
                    <a:pt x="244678" y="70142"/>
                  </a:lnTo>
                  <a:lnTo>
                    <a:pt x="272415" y="62992"/>
                  </a:lnTo>
                  <a:lnTo>
                    <a:pt x="300037" y="70154"/>
                  </a:lnTo>
                  <a:lnTo>
                    <a:pt x="317461" y="89141"/>
                  </a:lnTo>
                  <a:lnTo>
                    <a:pt x="326555" y="116205"/>
                  </a:lnTo>
                  <a:lnTo>
                    <a:pt x="329184" y="147574"/>
                  </a:lnTo>
                  <a:lnTo>
                    <a:pt x="329184" y="8763"/>
                  </a:lnTo>
                  <a:lnTo>
                    <a:pt x="329057" y="8763"/>
                  </a:lnTo>
                  <a:lnTo>
                    <a:pt x="329057" y="40132"/>
                  </a:lnTo>
                  <a:lnTo>
                    <a:pt x="327787" y="40132"/>
                  </a:lnTo>
                  <a:lnTo>
                    <a:pt x="320751" y="30060"/>
                  </a:lnTo>
                  <a:lnTo>
                    <a:pt x="306158" y="16687"/>
                  </a:lnTo>
                  <a:lnTo>
                    <a:pt x="282270" y="5003"/>
                  </a:lnTo>
                  <a:lnTo>
                    <a:pt x="247396" y="0"/>
                  </a:lnTo>
                  <a:lnTo>
                    <a:pt x="200228" y="8191"/>
                  </a:lnTo>
                  <a:lnTo>
                    <a:pt x="165557" y="30480"/>
                  </a:lnTo>
                  <a:lnTo>
                    <a:pt x="142240" y="63423"/>
                  </a:lnTo>
                  <a:lnTo>
                    <a:pt x="129082" y="103606"/>
                  </a:lnTo>
                  <a:lnTo>
                    <a:pt x="124968" y="147574"/>
                  </a:lnTo>
                  <a:lnTo>
                    <a:pt x="129082" y="191541"/>
                  </a:lnTo>
                  <a:lnTo>
                    <a:pt x="142227" y="231686"/>
                  </a:lnTo>
                  <a:lnTo>
                    <a:pt x="165557" y="264591"/>
                  </a:lnTo>
                  <a:lnTo>
                    <a:pt x="200228" y="286854"/>
                  </a:lnTo>
                  <a:lnTo>
                    <a:pt x="247396" y="295021"/>
                  </a:lnTo>
                  <a:lnTo>
                    <a:pt x="282778" y="289864"/>
                  </a:lnTo>
                  <a:lnTo>
                    <a:pt x="306832" y="277926"/>
                  </a:lnTo>
                  <a:lnTo>
                    <a:pt x="321259" y="264541"/>
                  </a:lnTo>
                  <a:lnTo>
                    <a:pt x="327787" y="255016"/>
                  </a:lnTo>
                  <a:lnTo>
                    <a:pt x="329057" y="255016"/>
                  </a:lnTo>
                  <a:lnTo>
                    <a:pt x="329057" y="288163"/>
                  </a:lnTo>
                  <a:lnTo>
                    <a:pt x="324040" y="315379"/>
                  </a:lnTo>
                  <a:lnTo>
                    <a:pt x="310502" y="335965"/>
                  </a:lnTo>
                  <a:lnTo>
                    <a:pt x="290690" y="349021"/>
                  </a:lnTo>
                  <a:lnTo>
                    <a:pt x="266827" y="353568"/>
                  </a:lnTo>
                  <a:lnTo>
                    <a:pt x="241401" y="349427"/>
                  </a:lnTo>
                  <a:lnTo>
                    <a:pt x="222465" y="339559"/>
                  </a:lnTo>
                  <a:lnTo>
                    <a:pt x="209677" y="327799"/>
                  </a:lnTo>
                  <a:lnTo>
                    <a:pt x="202692" y="318008"/>
                  </a:lnTo>
                  <a:lnTo>
                    <a:pt x="190690" y="324853"/>
                  </a:lnTo>
                  <a:lnTo>
                    <a:pt x="146177" y="351155"/>
                  </a:lnTo>
                  <a:lnTo>
                    <a:pt x="154990" y="366496"/>
                  </a:lnTo>
                  <a:lnTo>
                    <a:pt x="175488" y="388226"/>
                  </a:lnTo>
                  <a:lnTo>
                    <a:pt x="212166" y="407644"/>
                  </a:lnTo>
                  <a:lnTo>
                    <a:pt x="269494" y="416052"/>
                  </a:lnTo>
                  <a:lnTo>
                    <a:pt x="321665" y="408952"/>
                  </a:lnTo>
                  <a:lnTo>
                    <a:pt x="361924" y="388797"/>
                  </a:lnTo>
                  <a:lnTo>
                    <a:pt x="390423" y="357378"/>
                  </a:lnTo>
                  <a:lnTo>
                    <a:pt x="407390" y="316471"/>
                  </a:lnTo>
                  <a:lnTo>
                    <a:pt x="413004" y="267843"/>
                  </a:lnTo>
                  <a:lnTo>
                    <a:pt x="413004" y="255016"/>
                  </a:lnTo>
                  <a:lnTo>
                    <a:pt x="413004" y="232156"/>
                  </a:lnTo>
                  <a:lnTo>
                    <a:pt x="413004" y="62992"/>
                  </a:lnTo>
                  <a:lnTo>
                    <a:pt x="413004" y="40132"/>
                  </a:lnTo>
                  <a:lnTo>
                    <a:pt x="413004" y="8763"/>
                  </a:lnTo>
                  <a:close/>
                </a:path>
                <a:path w="1039495" h="416560">
                  <a:moveTo>
                    <a:pt x="1039368" y="115824"/>
                  </a:moveTo>
                  <a:lnTo>
                    <a:pt x="1031836" y="71691"/>
                  </a:lnTo>
                  <a:lnTo>
                    <a:pt x="1011199" y="38963"/>
                  </a:lnTo>
                  <a:lnTo>
                    <a:pt x="942314" y="4025"/>
                  </a:lnTo>
                  <a:lnTo>
                    <a:pt x="899922" y="0"/>
                  </a:lnTo>
                  <a:lnTo>
                    <a:pt x="850442" y="6680"/>
                  </a:lnTo>
                  <a:lnTo>
                    <a:pt x="816521" y="22123"/>
                  </a:lnTo>
                  <a:lnTo>
                    <a:pt x="795629" y="39497"/>
                  </a:lnTo>
                  <a:lnTo>
                    <a:pt x="785241" y="51943"/>
                  </a:lnTo>
                  <a:lnTo>
                    <a:pt x="833882" y="89154"/>
                  </a:lnTo>
                  <a:lnTo>
                    <a:pt x="841908" y="80098"/>
                  </a:lnTo>
                  <a:lnTo>
                    <a:pt x="854405" y="70548"/>
                  </a:lnTo>
                  <a:lnTo>
                    <a:pt x="871689" y="63017"/>
                  </a:lnTo>
                  <a:lnTo>
                    <a:pt x="894080" y="59944"/>
                  </a:lnTo>
                  <a:lnTo>
                    <a:pt x="919492" y="63284"/>
                  </a:lnTo>
                  <a:lnTo>
                    <a:pt x="938784" y="72961"/>
                  </a:lnTo>
                  <a:lnTo>
                    <a:pt x="951014" y="88557"/>
                  </a:lnTo>
                  <a:lnTo>
                    <a:pt x="955294" y="109601"/>
                  </a:lnTo>
                  <a:lnTo>
                    <a:pt x="955294" y="116078"/>
                  </a:lnTo>
                  <a:lnTo>
                    <a:pt x="955294" y="167005"/>
                  </a:lnTo>
                  <a:lnTo>
                    <a:pt x="955294" y="184658"/>
                  </a:lnTo>
                  <a:lnTo>
                    <a:pt x="952309" y="209283"/>
                  </a:lnTo>
                  <a:lnTo>
                    <a:pt x="943127" y="229895"/>
                  </a:lnTo>
                  <a:lnTo>
                    <a:pt x="927138" y="244043"/>
                  </a:lnTo>
                  <a:lnTo>
                    <a:pt x="903732" y="249301"/>
                  </a:lnTo>
                  <a:lnTo>
                    <a:pt x="886790" y="246583"/>
                  </a:lnTo>
                  <a:lnTo>
                    <a:pt x="873315" y="238747"/>
                  </a:lnTo>
                  <a:lnTo>
                    <a:pt x="864400" y="226326"/>
                  </a:lnTo>
                  <a:lnTo>
                    <a:pt x="861187" y="209804"/>
                  </a:lnTo>
                  <a:lnTo>
                    <a:pt x="864514" y="192786"/>
                  </a:lnTo>
                  <a:lnTo>
                    <a:pt x="875131" y="179222"/>
                  </a:lnTo>
                  <a:lnTo>
                    <a:pt x="894029" y="170256"/>
                  </a:lnTo>
                  <a:lnTo>
                    <a:pt x="922147" y="167005"/>
                  </a:lnTo>
                  <a:lnTo>
                    <a:pt x="955294" y="167005"/>
                  </a:lnTo>
                  <a:lnTo>
                    <a:pt x="955294" y="116078"/>
                  </a:lnTo>
                  <a:lnTo>
                    <a:pt x="918210" y="116078"/>
                  </a:lnTo>
                  <a:lnTo>
                    <a:pt x="860171" y="122047"/>
                  </a:lnTo>
                  <a:lnTo>
                    <a:pt x="815721" y="140208"/>
                  </a:lnTo>
                  <a:lnTo>
                    <a:pt x="787260" y="170942"/>
                  </a:lnTo>
                  <a:lnTo>
                    <a:pt x="777240" y="214630"/>
                  </a:lnTo>
                  <a:lnTo>
                    <a:pt x="784466" y="253555"/>
                  </a:lnTo>
                  <a:lnTo>
                    <a:pt x="804481" y="283438"/>
                  </a:lnTo>
                  <a:lnTo>
                    <a:pt x="834771" y="302615"/>
                  </a:lnTo>
                  <a:lnTo>
                    <a:pt x="872871" y="309372"/>
                  </a:lnTo>
                  <a:lnTo>
                    <a:pt x="910170" y="304279"/>
                  </a:lnTo>
                  <a:lnTo>
                    <a:pt x="935139" y="292633"/>
                  </a:lnTo>
                  <a:lnTo>
                    <a:pt x="949896" y="279857"/>
                  </a:lnTo>
                  <a:lnTo>
                    <a:pt x="956564" y="271399"/>
                  </a:lnTo>
                  <a:lnTo>
                    <a:pt x="957580" y="271399"/>
                  </a:lnTo>
                  <a:lnTo>
                    <a:pt x="957580" y="300609"/>
                  </a:lnTo>
                  <a:lnTo>
                    <a:pt x="1039368" y="300609"/>
                  </a:lnTo>
                  <a:lnTo>
                    <a:pt x="1039368" y="271399"/>
                  </a:lnTo>
                  <a:lnTo>
                    <a:pt x="1039368" y="249301"/>
                  </a:lnTo>
                  <a:lnTo>
                    <a:pt x="1039368" y="167005"/>
                  </a:lnTo>
                  <a:lnTo>
                    <a:pt x="1039368" y="115824"/>
                  </a:lnTo>
                  <a:close/>
                </a:path>
              </a:pathLst>
            </a:custGeom>
            <a:solidFill>
              <a:srgbClr val="F9F9F9"/>
            </a:solidFill>
          </p:spPr>
          <p:txBody>
            <a:bodyPr wrap="square" lIns="0" tIns="0" rIns="0" bIns="0" rtlCol="0"/>
            <a:lstStyle/>
            <a:p>
              <a:endParaRPr/>
            </a:p>
          </p:txBody>
        </p:sp>
        <p:pic>
          <p:nvPicPr>
            <p:cNvPr id="65" name="object 35">
              <a:extLst>
                <a:ext uri="{FF2B5EF4-FFF2-40B4-BE49-F238E27FC236}">
                  <a16:creationId xmlns:a16="http://schemas.microsoft.com/office/drawing/2014/main" id="{7C9F9DCA-E684-EDB2-FCE9-B45CC2D40C79}"/>
                </a:ext>
              </a:extLst>
            </p:cNvPr>
            <p:cNvPicPr/>
            <p:nvPr/>
          </p:nvPicPr>
          <p:blipFill>
            <a:blip r:embed="rId5" cstate="print"/>
            <a:stretch>
              <a:fillRect/>
            </a:stretch>
          </p:blipFill>
          <p:spPr>
            <a:xfrm>
              <a:off x="3869435" y="2194560"/>
              <a:ext cx="92963" cy="94487"/>
            </a:xfrm>
            <a:prstGeom prst="rect">
              <a:avLst/>
            </a:prstGeom>
          </p:spPr>
        </p:pic>
        <p:sp>
          <p:nvSpPr>
            <p:cNvPr id="66" name="object 36">
              <a:extLst>
                <a:ext uri="{FF2B5EF4-FFF2-40B4-BE49-F238E27FC236}">
                  <a16:creationId xmlns:a16="http://schemas.microsoft.com/office/drawing/2014/main" id="{E7E3EF5C-5B62-94A6-7EE8-07F1130E10A8}"/>
                </a:ext>
              </a:extLst>
            </p:cNvPr>
            <p:cNvSpPr/>
            <p:nvPr/>
          </p:nvSpPr>
          <p:spPr>
            <a:xfrm>
              <a:off x="4341876" y="2330195"/>
              <a:ext cx="86995" cy="292735"/>
            </a:xfrm>
            <a:custGeom>
              <a:avLst/>
              <a:gdLst/>
              <a:ahLst/>
              <a:cxnLst/>
              <a:rect l="l" t="t" r="r" b="b"/>
              <a:pathLst>
                <a:path w="86995" h="292735">
                  <a:moveTo>
                    <a:pt x="86869" y="0"/>
                  </a:moveTo>
                  <a:lnTo>
                    <a:pt x="0" y="0"/>
                  </a:lnTo>
                  <a:lnTo>
                    <a:pt x="0" y="292608"/>
                  </a:lnTo>
                  <a:lnTo>
                    <a:pt x="86869" y="292608"/>
                  </a:lnTo>
                  <a:lnTo>
                    <a:pt x="86869" y="0"/>
                  </a:lnTo>
                  <a:close/>
                </a:path>
              </a:pathLst>
            </a:custGeom>
            <a:solidFill>
              <a:srgbClr val="F9F9F9"/>
            </a:solidFill>
          </p:spPr>
          <p:txBody>
            <a:bodyPr wrap="square" lIns="0" tIns="0" rIns="0" bIns="0" rtlCol="0"/>
            <a:lstStyle/>
            <a:p>
              <a:endParaRPr/>
            </a:p>
          </p:txBody>
        </p:sp>
        <p:pic>
          <p:nvPicPr>
            <p:cNvPr id="67" name="object 37">
              <a:extLst>
                <a:ext uri="{FF2B5EF4-FFF2-40B4-BE49-F238E27FC236}">
                  <a16:creationId xmlns:a16="http://schemas.microsoft.com/office/drawing/2014/main" id="{E3F9AC8B-F34D-0767-EDA3-0D5655D4780C}"/>
                </a:ext>
              </a:extLst>
            </p:cNvPr>
            <p:cNvPicPr/>
            <p:nvPr/>
          </p:nvPicPr>
          <p:blipFill>
            <a:blip r:embed="rId6" cstate="print"/>
            <a:stretch>
              <a:fillRect/>
            </a:stretch>
          </p:blipFill>
          <p:spPr>
            <a:xfrm>
              <a:off x="4337303" y="2194560"/>
              <a:ext cx="94487" cy="94487"/>
            </a:xfrm>
            <a:prstGeom prst="rect">
              <a:avLst/>
            </a:prstGeom>
          </p:spPr>
        </p:pic>
        <p:pic>
          <p:nvPicPr>
            <p:cNvPr id="68" name="object 38">
              <a:extLst>
                <a:ext uri="{FF2B5EF4-FFF2-40B4-BE49-F238E27FC236}">
                  <a16:creationId xmlns:a16="http://schemas.microsoft.com/office/drawing/2014/main" id="{AB94D102-3238-3EFB-AFC7-E389EB3A7A3A}"/>
                </a:ext>
              </a:extLst>
            </p:cNvPr>
            <p:cNvPicPr/>
            <p:nvPr/>
          </p:nvPicPr>
          <p:blipFill>
            <a:blip r:embed="rId7" cstate="print"/>
            <a:stretch>
              <a:fillRect/>
            </a:stretch>
          </p:blipFill>
          <p:spPr>
            <a:xfrm>
              <a:off x="825092" y="2200655"/>
              <a:ext cx="182271" cy="182252"/>
            </a:xfrm>
            <a:prstGeom prst="rect">
              <a:avLst/>
            </a:prstGeom>
          </p:spPr>
        </p:pic>
        <p:sp>
          <p:nvSpPr>
            <p:cNvPr id="69" name="object 39">
              <a:extLst>
                <a:ext uri="{FF2B5EF4-FFF2-40B4-BE49-F238E27FC236}">
                  <a16:creationId xmlns:a16="http://schemas.microsoft.com/office/drawing/2014/main" id="{4D3F8A51-0D6C-0AA7-E3DA-DC88497F079A}"/>
                </a:ext>
              </a:extLst>
            </p:cNvPr>
            <p:cNvSpPr/>
            <p:nvPr/>
          </p:nvSpPr>
          <p:spPr>
            <a:xfrm>
              <a:off x="323684" y="2200655"/>
              <a:ext cx="786130" cy="421005"/>
            </a:xfrm>
            <a:custGeom>
              <a:avLst/>
              <a:gdLst/>
              <a:ahLst/>
              <a:cxnLst/>
              <a:rect l="l" t="t" r="r" b="b"/>
              <a:pathLst>
                <a:path w="786130" h="421005">
                  <a:moveTo>
                    <a:pt x="420027" y="279654"/>
                  </a:moveTo>
                  <a:lnTo>
                    <a:pt x="394093" y="240436"/>
                  </a:lnTo>
                  <a:lnTo>
                    <a:pt x="258064" y="236982"/>
                  </a:lnTo>
                  <a:lnTo>
                    <a:pt x="228904" y="230974"/>
                  </a:lnTo>
                  <a:lnTo>
                    <a:pt x="205066" y="214871"/>
                  </a:lnTo>
                  <a:lnTo>
                    <a:pt x="188937" y="191033"/>
                  </a:lnTo>
                  <a:lnTo>
                    <a:pt x="182968" y="162179"/>
                  </a:lnTo>
                  <a:lnTo>
                    <a:pt x="182892" y="42418"/>
                  </a:lnTo>
                  <a:lnTo>
                    <a:pt x="179552" y="25882"/>
                  </a:lnTo>
                  <a:lnTo>
                    <a:pt x="170446" y="12407"/>
                  </a:lnTo>
                  <a:lnTo>
                    <a:pt x="156959" y="3327"/>
                  </a:lnTo>
                  <a:lnTo>
                    <a:pt x="140462" y="0"/>
                  </a:lnTo>
                  <a:lnTo>
                    <a:pt x="42024" y="0"/>
                  </a:lnTo>
                  <a:lnTo>
                    <a:pt x="17551" y="7569"/>
                  </a:lnTo>
                  <a:lnTo>
                    <a:pt x="2717" y="26212"/>
                  </a:lnTo>
                  <a:lnTo>
                    <a:pt x="0" y="49885"/>
                  </a:lnTo>
                  <a:lnTo>
                    <a:pt x="11899" y="72517"/>
                  </a:lnTo>
                  <a:lnTo>
                    <a:pt x="100622" y="161290"/>
                  </a:lnTo>
                  <a:lnTo>
                    <a:pt x="101434" y="162179"/>
                  </a:lnTo>
                  <a:lnTo>
                    <a:pt x="347459" y="408051"/>
                  </a:lnTo>
                  <a:lnTo>
                    <a:pt x="370116" y="420001"/>
                  </a:lnTo>
                  <a:lnTo>
                    <a:pt x="393801" y="417296"/>
                  </a:lnTo>
                  <a:lnTo>
                    <a:pt x="412457" y="402450"/>
                  </a:lnTo>
                  <a:lnTo>
                    <a:pt x="420027" y="377952"/>
                  </a:lnTo>
                  <a:lnTo>
                    <a:pt x="420027" y="279654"/>
                  </a:lnTo>
                  <a:close/>
                </a:path>
                <a:path w="786130" h="421005">
                  <a:moveTo>
                    <a:pt x="683679" y="279654"/>
                  </a:moveTo>
                  <a:lnTo>
                    <a:pt x="657745" y="240436"/>
                  </a:lnTo>
                  <a:lnTo>
                    <a:pt x="521716" y="236982"/>
                  </a:lnTo>
                  <a:lnTo>
                    <a:pt x="492556" y="230974"/>
                  </a:lnTo>
                  <a:lnTo>
                    <a:pt x="468718" y="214871"/>
                  </a:lnTo>
                  <a:lnTo>
                    <a:pt x="452589" y="191033"/>
                  </a:lnTo>
                  <a:lnTo>
                    <a:pt x="446620" y="162179"/>
                  </a:lnTo>
                  <a:lnTo>
                    <a:pt x="446544" y="42418"/>
                  </a:lnTo>
                  <a:lnTo>
                    <a:pt x="443204" y="25882"/>
                  </a:lnTo>
                  <a:lnTo>
                    <a:pt x="434098" y="12407"/>
                  </a:lnTo>
                  <a:lnTo>
                    <a:pt x="420611" y="3327"/>
                  </a:lnTo>
                  <a:lnTo>
                    <a:pt x="404114" y="0"/>
                  </a:lnTo>
                  <a:lnTo>
                    <a:pt x="305676" y="0"/>
                  </a:lnTo>
                  <a:lnTo>
                    <a:pt x="281203" y="7569"/>
                  </a:lnTo>
                  <a:lnTo>
                    <a:pt x="266369" y="26212"/>
                  </a:lnTo>
                  <a:lnTo>
                    <a:pt x="263652" y="49885"/>
                  </a:lnTo>
                  <a:lnTo>
                    <a:pt x="275551" y="72517"/>
                  </a:lnTo>
                  <a:lnTo>
                    <a:pt x="364274" y="161290"/>
                  </a:lnTo>
                  <a:lnTo>
                    <a:pt x="365086" y="162179"/>
                  </a:lnTo>
                  <a:lnTo>
                    <a:pt x="611111" y="408051"/>
                  </a:lnTo>
                  <a:lnTo>
                    <a:pt x="633768" y="420001"/>
                  </a:lnTo>
                  <a:lnTo>
                    <a:pt x="657453" y="417296"/>
                  </a:lnTo>
                  <a:lnTo>
                    <a:pt x="676109" y="402450"/>
                  </a:lnTo>
                  <a:lnTo>
                    <a:pt x="683679" y="377952"/>
                  </a:lnTo>
                  <a:lnTo>
                    <a:pt x="683679" y="279654"/>
                  </a:lnTo>
                  <a:close/>
                </a:path>
                <a:path w="786130" h="421005">
                  <a:moveTo>
                    <a:pt x="747052" y="391668"/>
                  </a:moveTo>
                  <a:lnTo>
                    <a:pt x="723303" y="391668"/>
                  </a:lnTo>
                  <a:lnTo>
                    <a:pt x="723303" y="396240"/>
                  </a:lnTo>
                  <a:lnTo>
                    <a:pt x="732332" y="396240"/>
                  </a:lnTo>
                  <a:lnTo>
                    <a:pt x="732332" y="420624"/>
                  </a:lnTo>
                  <a:lnTo>
                    <a:pt x="738022" y="420624"/>
                  </a:lnTo>
                  <a:lnTo>
                    <a:pt x="738022" y="396240"/>
                  </a:lnTo>
                  <a:lnTo>
                    <a:pt x="747052" y="396240"/>
                  </a:lnTo>
                  <a:lnTo>
                    <a:pt x="747052" y="391668"/>
                  </a:lnTo>
                  <a:close/>
                </a:path>
                <a:path w="786130" h="421005">
                  <a:moveTo>
                    <a:pt x="785787" y="391668"/>
                  </a:moveTo>
                  <a:lnTo>
                    <a:pt x="777455" y="391668"/>
                  </a:lnTo>
                  <a:lnTo>
                    <a:pt x="769404" y="412115"/>
                  </a:lnTo>
                  <a:lnTo>
                    <a:pt x="764222" y="398018"/>
                  </a:lnTo>
                  <a:lnTo>
                    <a:pt x="761898" y="391668"/>
                  </a:lnTo>
                  <a:lnTo>
                    <a:pt x="753567" y="391668"/>
                  </a:lnTo>
                  <a:lnTo>
                    <a:pt x="753567" y="420497"/>
                  </a:lnTo>
                  <a:lnTo>
                    <a:pt x="758850" y="420497"/>
                  </a:lnTo>
                  <a:lnTo>
                    <a:pt x="758850" y="398018"/>
                  </a:lnTo>
                  <a:lnTo>
                    <a:pt x="758990" y="398018"/>
                  </a:lnTo>
                  <a:lnTo>
                    <a:pt x="767740" y="420497"/>
                  </a:lnTo>
                  <a:lnTo>
                    <a:pt x="771626" y="420497"/>
                  </a:lnTo>
                  <a:lnTo>
                    <a:pt x="774877" y="412115"/>
                  </a:lnTo>
                  <a:lnTo>
                    <a:pt x="780376" y="398018"/>
                  </a:lnTo>
                  <a:lnTo>
                    <a:pt x="780516" y="398018"/>
                  </a:lnTo>
                  <a:lnTo>
                    <a:pt x="780516" y="420497"/>
                  </a:lnTo>
                  <a:lnTo>
                    <a:pt x="785787" y="420497"/>
                  </a:lnTo>
                  <a:lnTo>
                    <a:pt x="785787" y="398018"/>
                  </a:lnTo>
                  <a:lnTo>
                    <a:pt x="785787" y="391668"/>
                  </a:lnTo>
                  <a:close/>
                </a:path>
              </a:pathLst>
            </a:custGeom>
            <a:solidFill>
              <a:srgbClr val="F9F9F9"/>
            </a:solidFill>
          </p:spPr>
          <p:txBody>
            <a:bodyPr wrap="square" lIns="0" tIns="0" rIns="0" bIns="0" rtlCol="0"/>
            <a:lstStyle/>
            <a:p>
              <a:endParaRPr/>
            </a:p>
          </p:txBody>
        </p:sp>
      </p:grpSp>
      <p:sp>
        <p:nvSpPr>
          <p:cNvPr id="15" name="Text Placeholder 14">
            <a:extLst>
              <a:ext uri="{FF2B5EF4-FFF2-40B4-BE49-F238E27FC236}">
                <a16:creationId xmlns:a16="http://schemas.microsoft.com/office/drawing/2014/main" id="{F33C628C-D29E-A044-B2EB-3DC2477C6A1B}"/>
              </a:ext>
            </a:extLst>
          </p:cNvPr>
          <p:cNvSpPr>
            <a:spLocks noGrp="1"/>
          </p:cNvSpPr>
          <p:nvPr>
            <p:ph type="body" sz="quarter" idx="11" hasCustomPrompt="1"/>
          </p:nvPr>
        </p:nvSpPr>
        <p:spPr>
          <a:xfrm>
            <a:off x="8226575" y="2284791"/>
            <a:ext cx="3825196" cy="369332"/>
          </a:xfrm>
        </p:spPr>
        <p:txBody>
          <a:bodyPr wrap="square" lIns="45720" tIns="0" rIns="0" bIns="0" anchor="t">
            <a:spAutoFit/>
          </a:bodyPr>
          <a:lstStyle>
            <a:lvl1pPr marL="0" indent="0" algn="l">
              <a:spcAft>
                <a:spcPts val="0"/>
              </a:spcAft>
              <a:buNone/>
              <a:defRPr sz="2400" b="1" i="0">
                <a:solidFill>
                  <a:schemeClr val="bg1"/>
                </a:solidFill>
                <a:latin typeface="+mn-lt"/>
              </a:defRPr>
            </a:lvl1pPr>
            <a:lvl2pPr marL="457200" indent="0">
              <a:buNone/>
              <a:defRPr sz="2400">
                <a:solidFill>
                  <a:schemeClr val="bg1"/>
                </a:solidFill>
              </a:defRPr>
            </a:lvl2pPr>
            <a:lvl3pPr marL="914400" indent="0">
              <a:buNone/>
              <a:defRPr sz="2400">
                <a:solidFill>
                  <a:schemeClr val="bg1"/>
                </a:solidFill>
              </a:defRPr>
            </a:lvl3pPr>
            <a:lvl4pPr marL="1371600" indent="0">
              <a:buNone/>
              <a:defRPr sz="2400">
                <a:solidFill>
                  <a:schemeClr val="bg1"/>
                </a:solidFill>
              </a:defRPr>
            </a:lvl4pPr>
            <a:lvl5pPr marL="1828800" indent="0">
              <a:buNone/>
              <a:defRPr sz="2400">
                <a:solidFill>
                  <a:schemeClr val="bg1"/>
                </a:solidFill>
              </a:defRPr>
            </a:lvl5pPr>
          </a:lstStyle>
          <a:p>
            <a:pPr lvl="0"/>
            <a:r>
              <a:rPr lang="en-US" dirty="0"/>
              <a:t>Add Presenter’s Name</a:t>
            </a:r>
          </a:p>
        </p:txBody>
      </p:sp>
      <p:sp>
        <p:nvSpPr>
          <p:cNvPr id="70" name="Text Placeholder 14">
            <a:extLst>
              <a:ext uri="{FF2B5EF4-FFF2-40B4-BE49-F238E27FC236}">
                <a16:creationId xmlns:a16="http://schemas.microsoft.com/office/drawing/2014/main" id="{6E0FA264-AFCA-4298-079B-2D41A6D883A1}"/>
              </a:ext>
            </a:extLst>
          </p:cNvPr>
          <p:cNvSpPr>
            <a:spLocks noGrp="1"/>
          </p:cNvSpPr>
          <p:nvPr>
            <p:ph type="body" sz="quarter" idx="12" hasCustomPrompt="1"/>
          </p:nvPr>
        </p:nvSpPr>
        <p:spPr>
          <a:xfrm>
            <a:off x="8226575" y="6307272"/>
            <a:ext cx="3825196" cy="276999"/>
          </a:xfrm>
        </p:spPr>
        <p:txBody>
          <a:bodyPr wrap="square" lIns="45720" tIns="0" rIns="0" bIns="0" anchor="ctr">
            <a:spAutoFit/>
          </a:bodyPr>
          <a:lstStyle>
            <a:lvl1pPr marL="0" indent="0" algn="ctr">
              <a:spcAft>
                <a:spcPts val="0"/>
              </a:spcAft>
              <a:buNone/>
              <a:defRPr sz="1800" b="0" i="0">
                <a:solidFill>
                  <a:schemeClr val="bg1"/>
                </a:solidFill>
                <a:latin typeface="+mn-lt"/>
              </a:defRPr>
            </a:lvl1pPr>
            <a:lvl2pPr marL="457200" indent="0">
              <a:buNone/>
              <a:defRPr sz="2400">
                <a:solidFill>
                  <a:schemeClr val="bg1"/>
                </a:solidFill>
              </a:defRPr>
            </a:lvl2pPr>
            <a:lvl3pPr marL="914400" indent="0">
              <a:buNone/>
              <a:defRPr sz="2400">
                <a:solidFill>
                  <a:schemeClr val="bg1"/>
                </a:solidFill>
              </a:defRPr>
            </a:lvl3pPr>
            <a:lvl4pPr marL="1371600" indent="0">
              <a:buNone/>
              <a:defRPr sz="2400">
                <a:solidFill>
                  <a:schemeClr val="bg1"/>
                </a:solidFill>
              </a:defRPr>
            </a:lvl4pPr>
            <a:lvl5pPr marL="1828800" indent="0">
              <a:buNone/>
              <a:defRPr sz="2400">
                <a:solidFill>
                  <a:schemeClr val="bg1"/>
                </a:solidFill>
              </a:defRPr>
            </a:lvl5pPr>
          </a:lstStyle>
          <a:p>
            <a:pPr lvl="0"/>
            <a:r>
              <a:rPr lang="en-US" dirty="0"/>
              <a:t>Click to Date</a:t>
            </a:r>
          </a:p>
        </p:txBody>
      </p:sp>
      <p:sp>
        <p:nvSpPr>
          <p:cNvPr id="35" name="Text Placeholder 14">
            <a:extLst>
              <a:ext uri="{FF2B5EF4-FFF2-40B4-BE49-F238E27FC236}">
                <a16:creationId xmlns:a16="http://schemas.microsoft.com/office/drawing/2014/main" id="{A7E8AA67-5327-2829-13DF-593470506AFA}"/>
              </a:ext>
            </a:extLst>
          </p:cNvPr>
          <p:cNvSpPr>
            <a:spLocks noGrp="1"/>
          </p:cNvSpPr>
          <p:nvPr>
            <p:ph type="body" sz="quarter" idx="15" hasCustomPrompt="1"/>
          </p:nvPr>
        </p:nvSpPr>
        <p:spPr>
          <a:xfrm>
            <a:off x="8226569" y="2798798"/>
            <a:ext cx="3825196" cy="307777"/>
          </a:xfrm>
        </p:spPr>
        <p:txBody>
          <a:bodyPr wrap="square" lIns="45720" tIns="0" rIns="0" bIns="0" anchor="t">
            <a:spAutoFit/>
          </a:bodyPr>
          <a:lstStyle>
            <a:lvl1pPr marL="0" indent="0" algn="l">
              <a:spcAft>
                <a:spcPts val="0"/>
              </a:spcAft>
              <a:buNone/>
              <a:defRPr sz="2000" b="0" i="0">
                <a:solidFill>
                  <a:schemeClr val="bg1"/>
                </a:solidFill>
                <a:latin typeface="+mn-lt"/>
              </a:defRPr>
            </a:lvl1pPr>
            <a:lvl2pPr marL="457200" indent="0">
              <a:buNone/>
              <a:defRPr sz="2400">
                <a:solidFill>
                  <a:schemeClr val="bg1"/>
                </a:solidFill>
              </a:defRPr>
            </a:lvl2pPr>
            <a:lvl3pPr marL="914400" indent="0">
              <a:buNone/>
              <a:defRPr sz="2400">
                <a:solidFill>
                  <a:schemeClr val="bg1"/>
                </a:solidFill>
              </a:defRPr>
            </a:lvl3pPr>
            <a:lvl4pPr marL="1371600" indent="0">
              <a:buNone/>
              <a:defRPr sz="2400">
                <a:solidFill>
                  <a:schemeClr val="bg1"/>
                </a:solidFill>
              </a:defRPr>
            </a:lvl4pPr>
            <a:lvl5pPr marL="1828800" indent="0">
              <a:buNone/>
              <a:defRPr sz="2400">
                <a:solidFill>
                  <a:schemeClr val="bg1"/>
                </a:solidFill>
              </a:defRPr>
            </a:lvl5pPr>
          </a:lstStyle>
          <a:p>
            <a:pPr lvl="0"/>
            <a:r>
              <a:rPr lang="en-US" dirty="0"/>
              <a:t>Add Presenter’s Title</a:t>
            </a:r>
          </a:p>
        </p:txBody>
      </p:sp>
      <p:sp>
        <p:nvSpPr>
          <p:cNvPr id="12" name="Title 11">
            <a:extLst>
              <a:ext uri="{FF2B5EF4-FFF2-40B4-BE49-F238E27FC236}">
                <a16:creationId xmlns:a16="http://schemas.microsoft.com/office/drawing/2014/main" id="{BE67A871-5509-29B3-2A2C-78E38FBF4126}"/>
              </a:ext>
            </a:extLst>
          </p:cNvPr>
          <p:cNvSpPr>
            <a:spLocks noGrp="1"/>
          </p:cNvSpPr>
          <p:nvPr>
            <p:ph type="title"/>
          </p:nvPr>
        </p:nvSpPr>
        <p:spPr>
          <a:xfrm>
            <a:off x="274639" y="2284791"/>
            <a:ext cx="7665642" cy="4299479"/>
          </a:xfrm>
        </p:spPr>
        <p:txBody>
          <a:bodyPr wrap="square" anchor="t"/>
          <a:lstStyle>
            <a:lvl1pPr>
              <a:lnSpc>
                <a:spcPts val="9000"/>
              </a:lnSpc>
              <a:defRPr sz="9600" spc="-3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852954875"/>
      </p:ext>
    </p:extLst>
  </p:cSld>
  <p:clrMapOvr>
    <a:masterClrMapping/>
  </p:clrMapOvr>
  <p:transition>
    <p:fade/>
  </p:transition>
  <p:hf hdr="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Alternate Title">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AA441DBF-3234-8AE4-C3DE-3D3DEA127BBA}"/>
              </a:ext>
            </a:extLst>
          </p:cNvPr>
          <p:cNvSpPr/>
          <p:nvPr userDrawn="1"/>
        </p:nvSpPr>
        <p:spPr>
          <a:xfrm>
            <a:off x="0" y="0"/>
            <a:ext cx="12192000" cy="6858000"/>
          </a:xfrm>
          <a:prstGeom prst="rect">
            <a:avLst/>
          </a:prstGeom>
          <a:gradFill>
            <a:gsLst>
              <a:gs pos="0">
                <a:schemeClr val="accent1"/>
              </a:gs>
              <a:gs pos="50000">
                <a:schemeClr val="accent2"/>
              </a:gs>
              <a:gs pos="100000">
                <a:schemeClr val="accent3"/>
              </a:gs>
            </a:gsLst>
            <a:lin ang="81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ight Triangle 15">
            <a:extLst>
              <a:ext uri="{FF2B5EF4-FFF2-40B4-BE49-F238E27FC236}">
                <a16:creationId xmlns:a16="http://schemas.microsoft.com/office/drawing/2014/main" id="{4BD3CB0F-4404-2A7E-1FD6-E03023EAB672}"/>
              </a:ext>
            </a:extLst>
          </p:cNvPr>
          <p:cNvSpPr/>
          <p:nvPr userDrawn="1"/>
        </p:nvSpPr>
        <p:spPr>
          <a:xfrm rot="16200000">
            <a:off x="3460864" y="-3460870"/>
            <a:ext cx="5270274" cy="12192001"/>
          </a:xfrm>
          <a:prstGeom prst="rtTriangle">
            <a:avLst/>
          </a:prstGeom>
          <a:gradFill>
            <a:gsLst>
              <a:gs pos="0">
                <a:schemeClr val="accent1"/>
              </a:gs>
              <a:gs pos="50000">
                <a:schemeClr val="accent2"/>
              </a:gs>
              <a:gs pos="100000">
                <a:schemeClr val="accent3"/>
              </a:gs>
            </a:gsLst>
            <a:lin ang="16200000" scaled="0"/>
          </a:gradFill>
          <a:ln>
            <a:noFill/>
          </a:ln>
          <a:effectLst>
            <a:outerShdw blurRad="635000" dist="38100" dir="5400000" algn="ctr" rotWithShape="0">
              <a:schemeClr val="bg1">
                <a:lumMod val="10000"/>
                <a:alpha val="29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6" name="Group 35">
            <a:extLst>
              <a:ext uri="{FF2B5EF4-FFF2-40B4-BE49-F238E27FC236}">
                <a16:creationId xmlns:a16="http://schemas.microsoft.com/office/drawing/2014/main" id="{2E7FA8AE-0F47-67CB-5892-BACCA2E73E7C}"/>
              </a:ext>
            </a:extLst>
          </p:cNvPr>
          <p:cNvGrpSpPr/>
          <p:nvPr userDrawn="1"/>
        </p:nvGrpSpPr>
        <p:grpSpPr>
          <a:xfrm>
            <a:off x="323684" y="337679"/>
            <a:ext cx="4851819" cy="543050"/>
            <a:chOff x="323684" y="2194560"/>
            <a:chExt cx="4851819" cy="543050"/>
          </a:xfrm>
        </p:grpSpPr>
        <p:sp>
          <p:nvSpPr>
            <p:cNvPr id="62" name="object 32">
              <a:extLst>
                <a:ext uri="{FF2B5EF4-FFF2-40B4-BE49-F238E27FC236}">
                  <a16:creationId xmlns:a16="http://schemas.microsoft.com/office/drawing/2014/main" id="{75912714-2D80-863F-A369-52A3F0C9959A}"/>
                </a:ext>
              </a:extLst>
            </p:cNvPr>
            <p:cNvSpPr/>
            <p:nvPr/>
          </p:nvSpPr>
          <p:spPr>
            <a:xfrm>
              <a:off x="1191768" y="2202179"/>
              <a:ext cx="3863340" cy="428625"/>
            </a:xfrm>
            <a:custGeom>
              <a:avLst/>
              <a:gdLst/>
              <a:ahLst/>
              <a:cxnLst/>
              <a:rect l="l" t="t" r="r" b="b"/>
              <a:pathLst>
                <a:path w="3863340" h="428625">
                  <a:moveTo>
                    <a:pt x="586740" y="0"/>
                  </a:moveTo>
                  <a:lnTo>
                    <a:pt x="504698" y="0"/>
                  </a:lnTo>
                  <a:lnTo>
                    <a:pt x="428244" y="299720"/>
                  </a:lnTo>
                  <a:lnTo>
                    <a:pt x="351790" y="0"/>
                  </a:lnTo>
                  <a:lnTo>
                    <a:pt x="246507" y="0"/>
                  </a:lnTo>
                  <a:lnTo>
                    <a:pt x="167894" y="308356"/>
                  </a:lnTo>
                  <a:lnTo>
                    <a:pt x="89281" y="0"/>
                  </a:lnTo>
                  <a:lnTo>
                    <a:pt x="0" y="0"/>
                  </a:lnTo>
                  <a:lnTo>
                    <a:pt x="108712" y="420624"/>
                  </a:lnTo>
                  <a:lnTo>
                    <a:pt x="220472" y="420624"/>
                  </a:lnTo>
                  <a:lnTo>
                    <a:pt x="296545" y="122555"/>
                  </a:lnTo>
                  <a:lnTo>
                    <a:pt x="372618" y="420624"/>
                  </a:lnTo>
                  <a:lnTo>
                    <a:pt x="478028" y="420624"/>
                  </a:lnTo>
                  <a:lnTo>
                    <a:pt x="586740" y="0"/>
                  </a:lnTo>
                  <a:close/>
                </a:path>
                <a:path w="3863340" h="428625">
                  <a:moveTo>
                    <a:pt x="851916" y="299212"/>
                  </a:moveTo>
                  <a:lnTo>
                    <a:pt x="851789" y="273558"/>
                  </a:lnTo>
                  <a:lnTo>
                    <a:pt x="847813" y="241046"/>
                  </a:lnTo>
                  <a:lnTo>
                    <a:pt x="846239" y="228066"/>
                  </a:lnTo>
                  <a:lnTo>
                    <a:pt x="829360" y="186029"/>
                  </a:lnTo>
                  <a:lnTo>
                    <a:pt x="823544" y="178943"/>
                  </a:lnTo>
                  <a:lnTo>
                    <a:pt x="800811" y="151269"/>
                  </a:lnTo>
                  <a:lnTo>
                    <a:pt x="767969" y="132130"/>
                  </a:lnTo>
                  <a:lnTo>
                    <a:pt x="767969" y="241046"/>
                  </a:lnTo>
                  <a:lnTo>
                    <a:pt x="645922" y="241046"/>
                  </a:lnTo>
                  <a:lnTo>
                    <a:pt x="651192" y="217474"/>
                  </a:lnTo>
                  <a:lnTo>
                    <a:pt x="662724" y="197662"/>
                  </a:lnTo>
                  <a:lnTo>
                    <a:pt x="681189" y="184023"/>
                  </a:lnTo>
                  <a:lnTo>
                    <a:pt x="707263" y="178943"/>
                  </a:lnTo>
                  <a:lnTo>
                    <a:pt x="732205" y="183705"/>
                  </a:lnTo>
                  <a:lnTo>
                    <a:pt x="750570" y="196811"/>
                  </a:lnTo>
                  <a:lnTo>
                    <a:pt x="762444" y="216509"/>
                  </a:lnTo>
                  <a:lnTo>
                    <a:pt x="767969" y="241046"/>
                  </a:lnTo>
                  <a:lnTo>
                    <a:pt x="767969" y="132130"/>
                  </a:lnTo>
                  <a:lnTo>
                    <a:pt x="760234" y="127609"/>
                  </a:lnTo>
                  <a:lnTo>
                    <a:pt x="707263" y="118872"/>
                  </a:lnTo>
                  <a:lnTo>
                    <a:pt x="658101" y="126542"/>
                  </a:lnTo>
                  <a:lnTo>
                    <a:pt x="617905" y="148056"/>
                  </a:lnTo>
                  <a:lnTo>
                    <a:pt x="587794" y="181203"/>
                  </a:lnTo>
                  <a:lnTo>
                    <a:pt x="568896" y="223774"/>
                  </a:lnTo>
                  <a:lnTo>
                    <a:pt x="562356" y="273558"/>
                  </a:lnTo>
                  <a:lnTo>
                    <a:pt x="568833" y="322859"/>
                  </a:lnTo>
                  <a:lnTo>
                    <a:pt x="587730" y="365379"/>
                  </a:lnTo>
                  <a:lnTo>
                    <a:pt x="618223" y="398703"/>
                  </a:lnTo>
                  <a:lnTo>
                    <a:pt x="659523" y="420471"/>
                  </a:lnTo>
                  <a:lnTo>
                    <a:pt x="710819" y="428244"/>
                  </a:lnTo>
                  <a:lnTo>
                    <a:pt x="763168" y="420382"/>
                  </a:lnTo>
                  <a:lnTo>
                    <a:pt x="799045" y="401866"/>
                  </a:lnTo>
                  <a:lnTo>
                    <a:pt x="820966" y="380352"/>
                  </a:lnTo>
                  <a:lnTo>
                    <a:pt x="828624" y="368046"/>
                  </a:lnTo>
                  <a:lnTo>
                    <a:pt x="831469" y="363474"/>
                  </a:lnTo>
                  <a:lnTo>
                    <a:pt x="774954" y="330835"/>
                  </a:lnTo>
                  <a:lnTo>
                    <a:pt x="769734" y="339712"/>
                  </a:lnTo>
                  <a:lnTo>
                    <a:pt x="758698" y="352158"/>
                  </a:lnTo>
                  <a:lnTo>
                    <a:pt x="739838" y="363258"/>
                  </a:lnTo>
                  <a:lnTo>
                    <a:pt x="711200" y="368046"/>
                  </a:lnTo>
                  <a:lnTo>
                    <a:pt x="685888" y="362940"/>
                  </a:lnTo>
                  <a:lnTo>
                    <a:pt x="665810" y="348678"/>
                  </a:lnTo>
                  <a:lnTo>
                    <a:pt x="652132" y="326898"/>
                  </a:lnTo>
                  <a:lnTo>
                    <a:pt x="646049" y="299212"/>
                  </a:lnTo>
                  <a:lnTo>
                    <a:pt x="851916" y="299212"/>
                  </a:lnTo>
                  <a:close/>
                </a:path>
                <a:path w="3863340" h="428625">
                  <a:moveTo>
                    <a:pt x="1121664" y="335534"/>
                  </a:moveTo>
                  <a:lnTo>
                    <a:pt x="1097064" y="274688"/>
                  </a:lnTo>
                  <a:lnTo>
                    <a:pt x="1038860" y="243459"/>
                  </a:lnTo>
                  <a:lnTo>
                    <a:pt x="991108" y="228727"/>
                  </a:lnTo>
                  <a:lnTo>
                    <a:pt x="977709" y="222885"/>
                  </a:lnTo>
                  <a:lnTo>
                    <a:pt x="968108" y="214566"/>
                  </a:lnTo>
                  <a:lnTo>
                    <a:pt x="964438" y="202438"/>
                  </a:lnTo>
                  <a:lnTo>
                    <a:pt x="966939" y="192811"/>
                  </a:lnTo>
                  <a:lnTo>
                    <a:pt x="974305" y="185483"/>
                  </a:lnTo>
                  <a:lnTo>
                    <a:pt x="986294" y="180835"/>
                  </a:lnTo>
                  <a:lnTo>
                    <a:pt x="1002665" y="179197"/>
                  </a:lnTo>
                  <a:lnTo>
                    <a:pt x="1027353" y="182803"/>
                  </a:lnTo>
                  <a:lnTo>
                    <a:pt x="1044079" y="191350"/>
                  </a:lnTo>
                  <a:lnTo>
                    <a:pt x="1054544" y="201434"/>
                  </a:lnTo>
                  <a:lnTo>
                    <a:pt x="1060450" y="209677"/>
                  </a:lnTo>
                  <a:lnTo>
                    <a:pt x="1114298" y="173355"/>
                  </a:lnTo>
                  <a:lnTo>
                    <a:pt x="1104480" y="159867"/>
                  </a:lnTo>
                  <a:lnTo>
                    <a:pt x="1083437" y="141693"/>
                  </a:lnTo>
                  <a:lnTo>
                    <a:pt x="1048004" y="125730"/>
                  </a:lnTo>
                  <a:lnTo>
                    <a:pt x="995045" y="118872"/>
                  </a:lnTo>
                  <a:lnTo>
                    <a:pt x="950874" y="124790"/>
                  </a:lnTo>
                  <a:lnTo>
                    <a:pt x="914501" y="142049"/>
                  </a:lnTo>
                  <a:lnTo>
                    <a:pt x="889825" y="169989"/>
                  </a:lnTo>
                  <a:lnTo>
                    <a:pt x="880745" y="207899"/>
                  </a:lnTo>
                  <a:lnTo>
                    <a:pt x="887387" y="242735"/>
                  </a:lnTo>
                  <a:lnTo>
                    <a:pt x="905205" y="268566"/>
                  </a:lnTo>
                  <a:lnTo>
                    <a:pt x="930935" y="286893"/>
                  </a:lnTo>
                  <a:lnTo>
                    <a:pt x="961390" y="299212"/>
                  </a:lnTo>
                  <a:lnTo>
                    <a:pt x="997839" y="310388"/>
                  </a:lnTo>
                  <a:lnTo>
                    <a:pt x="1013637" y="315823"/>
                  </a:lnTo>
                  <a:lnTo>
                    <a:pt x="1026375" y="322033"/>
                  </a:lnTo>
                  <a:lnTo>
                    <a:pt x="1034872" y="330161"/>
                  </a:lnTo>
                  <a:lnTo>
                    <a:pt x="1037971" y="341376"/>
                  </a:lnTo>
                  <a:lnTo>
                    <a:pt x="1034770" y="352145"/>
                  </a:lnTo>
                  <a:lnTo>
                    <a:pt x="1025474" y="360578"/>
                  </a:lnTo>
                  <a:lnTo>
                    <a:pt x="1010475" y="366077"/>
                  </a:lnTo>
                  <a:lnTo>
                    <a:pt x="990219" y="368046"/>
                  </a:lnTo>
                  <a:lnTo>
                    <a:pt x="964679" y="364185"/>
                  </a:lnTo>
                  <a:lnTo>
                    <a:pt x="946150" y="354926"/>
                  </a:lnTo>
                  <a:lnTo>
                    <a:pt x="933704" y="343776"/>
                  </a:lnTo>
                  <a:lnTo>
                    <a:pt x="926465" y="334264"/>
                  </a:lnTo>
                  <a:lnTo>
                    <a:pt x="870204" y="365887"/>
                  </a:lnTo>
                  <a:lnTo>
                    <a:pt x="879513" y="381419"/>
                  </a:lnTo>
                  <a:lnTo>
                    <a:pt x="901382" y="402209"/>
                  </a:lnTo>
                  <a:lnTo>
                    <a:pt x="938961" y="420433"/>
                  </a:lnTo>
                  <a:lnTo>
                    <a:pt x="995426" y="428244"/>
                  </a:lnTo>
                  <a:lnTo>
                    <a:pt x="1043914" y="422770"/>
                  </a:lnTo>
                  <a:lnTo>
                    <a:pt x="1084110" y="405892"/>
                  </a:lnTo>
                  <a:lnTo>
                    <a:pt x="1111529" y="377024"/>
                  </a:lnTo>
                  <a:lnTo>
                    <a:pt x="1121664" y="335534"/>
                  </a:lnTo>
                  <a:close/>
                </a:path>
                <a:path w="3863340" h="428625">
                  <a:moveTo>
                    <a:pt x="1306068" y="128143"/>
                  </a:moveTo>
                  <a:lnTo>
                    <a:pt x="1240282" y="128143"/>
                  </a:lnTo>
                  <a:lnTo>
                    <a:pt x="1240282" y="54864"/>
                  </a:lnTo>
                  <a:lnTo>
                    <a:pt x="1156716" y="54864"/>
                  </a:lnTo>
                  <a:lnTo>
                    <a:pt x="1156716" y="329438"/>
                  </a:lnTo>
                  <a:lnTo>
                    <a:pt x="1161148" y="368236"/>
                  </a:lnTo>
                  <a:lnTo>
                    <a:pt x="1176020" y="399605"/>
                  </a:lnTo>
                  <a:lnTo>
                    <a:pt x="1203642" y="420598"/>
                  </a:lnTo>
                  <a:lnTo>
                    <a:pt x="1246378" y="428244"/>
                  </a:lnTo>
                  <a:lnTo>
                    <a:pt x="1267853" y="427075"/>
                  </a:lnTo>
                  <a:lnTo>
                    <a:pt x="1285328" y="424395"/>
                  </a:lnTo>
                  <a:lnTo>
                    <a:pt x="1297813" y="421449"/>
                  </a:lnTo>
                  <a:lnTo>
                    <a:pt x="1304290" y="419481"/>
                  </a:lnTo>
                  <a:lnTo>
                    <a:pt x="1304290" y="369189"/>
                  </a:lnTo>
                  <a:lnTo>
                    <a:pt x="1302004" y="369824"/>
                  </a:lnTo>
                  <a:lnTo>
                    <a:pt x="1294257" y="371094"/>
                  </a:lnTo>
                  <a:lnTo>
                    <a:pt x="1280795" y="371094"/>
                  </a:lnTo>
                  <a:lnTo>
                    <a:pt x="1263802" y="367982"/>
                  </a:lnTo>
                  <a:lnTo>
                    <a:pt x="1251051" y="359257"/>
                  </a:lnTo>
                  <a:lnTo>
                    <a:pt x="1243050" y="345808"/>
                  </a:lnTo>
                  <a:lnTo>
                    <a:pt x="1240282" y="328549"/>
                  </a:lnTo>
                  <a:lnTo>
                    <a:pt x="1240282" y="186182"/>
                  </a:lnTo>
                  <a:lnTo>
                    <a:pt x="1306068" y="186182"/>
                  </a:lnTo>
                  <a:lnTo>
                    <a:pt x="1306068" y="128143"/>
                  </a:lnTo>
                  <a:close/>
                </a:path>
                <a:path w="3863340" h="428625">
                  <a:moveTo>
                    <a:pt x="1603248" y="273558"/>
                  </a:moveTo>
                  <a:lnTo>
                    <a:pt x="1599260" y="241046"/>
                  </a:lnTo>
                  <a:lnTo>
                    <a:pt x="1597660" y="228066"/>
                  </a:lnTo>
                  <a:lnTo>
                    <a:pt x="1580705" y="186029"/>
                  </a:lnTo>
                  <a:lnTo>
                    <a:pt x="1574850" y="178943"/>
                  </a:lnTo>
                  <a:lnTo>
                    <a:pt x="1552003" y="151269"/>
                  </a:lnTo>
                  <a:lnTo>
                    <a:pt x="1519047" y="132168"/>
                  </a:lnTo>
                  <a:lnTo>
                    <a:pt x="1519047" y="241046"/>
                  </a:lnTo>
                  <a:lnTo>
                    <a:pt x="1396111" y="241046"/>
                  </a:lnTo>
                  <a:lnTo>
                    <a:pt x="1401483" y="217474"/>
                  </a:lnTo>
                  <a:lnTo>
                    <a:pt x="1413129" y="197662"/>
                  </a:lnTo>
                  <a:lnTo>
                    <a:pt x="1431721" y="184023"/>
                  </a:lnTo>
                  <a:lnTo>
                    <a:pt x="1457960" y="178943"/>
                  </a:lnTo>
                  <a:lnTo>
                    <a:pt x="1483017" y="183705"/>
                  </a:lnTo>
                  <a:lnTo>
                    <a:pt x="1501495" y="196811"/>
                  </a:lnTo>
                  <a:lnTo>
                    <a:pt x="1513484" y="216509"/>
                  </a:lnTo>
                  <a:lnTo>
                    <a:pt x="1519047" y="241046"/>
                  </a:lnTo>
                  <a:lnTo>
                    <a:pt x="1519047" y="132168"/>
                  </a:lnTo>
                  <a:lnTo>
                    <a:pt x="1511198" y="127609"/>
                  </a:lnTo>
                  <a:lnTo>
                    <a:pt x="1457960" y="118872"/>
                  </a:lnTo>
                  <a:lnTo>
                    <a:pt x="1408455" y="126542"/>
                  </a:lnTo>
                  <a:lnTo>
                    <a:pt x="1368005" y="148056"/>
                  </a:lnTo>
                  <a:lnTo>
                    <a:pt x="1337729" y="181203"/>
                  </a:lnTo>
                  <a:lnTo>
                    <a:pt x="1318742" y="223774"/>
                  </a:lnTo>
                  <a:lnTo>
                    <a:pt x="1312164" y="273558"/>
                  </a:lnTo>
                  <a:lnTo>
                    <a:pt x="1318679" y="322859"/>
                  </a:lnTo>
                  <a:lnTo>
                    <a:pt x="1337703" y="365379"/>
                  </a:lnTo>
                  <a:lnTo>
                    <a:pt x="1368399" y="398703"/>
                  </a:lnTo>
                  <a:lnTo>
                    <a:pt x="1409941" y="420471"/>
                  </a:lnTo>
                  <a:lnTo>
                    <a:pt x="1461516" y="428244"/>
                  </a:lnTo>
                  <a:lnTo>
                    <a:pt x="1514119" y="420382"/>
                  </a:lnTo>
                  <a:lnTo>
                    <a:pt x="1550200" y="401866"/>
                  </a:lnTo>
                  <a:lnTo>
                    <a:pt x="1572260" y="380352"/>
                  </a:lnTo>
                  <a:lnTo>
                    <a:pt x="1579943" y="368046"/>
                  </a:lnTo>
                  <a:lnTo>
                    <a:pt x="1582801" y="363474"/>
                  </a:lnTo>
                  <a:lnTo>
                    <a:pt x="1526032" y="330835"/>
                  </a:lnTo>
                  <a:lnTo>
                    <a:pt x="1520736" y="339712"/>
                  </a:lnTo>
                  <a:lnTo>
                    <a:pt x="1509623" y="352158"/>
                  </a:lnTo>
                  <a:lnTo>
                    <a:pt x="1490687" y="363258"/>
                  </a:lnTo>
                  <a:lnTo>
                    <a:pt x="1461897" y="368046"/>
                  </a:lnTo>
                  <a:lnTo>
                    <a:pt x="1436420" y="362940"/>
                  </a:lnTo>
                  <a:lnTo>
                    <a:pt x="1416202" y="348678"/>
                  </a:lnTo>
                  <a:lnTo>
                    <a:pt x="1402422" y="326898"/>
                  </a:lnTo>
                  <a:lnTo>
                    <a:pt x="1396238" y="299212"/>
                  </a:lnTo>
                  <a:lnTo>
                    <a:pt x="1603248" y="299212"/>
                  </a:lnTo>
                  <a:lnTo>
                    <a:pt x="1603248" y="273558"/>
                  </a:lnTo>
                  <a:close/>
                </a:path>
                <a:path w="3863340" h="428625">
                  <a:moveTo>
                    <a:pt x="1818132" y="118872"/>
                  </a:moveTo>
                  <a:lnTo>
                    <a:pt x="1771205" y="125780"/>
                  </a:lnTo>
                  <a:lnTo>
                    <a:pt x="1741817" y="141973"/>
                  </a:lnTo>
                  <a:lnTo>
                    <a:pt x="1725599" y="160718"/>
                  </a:lnTo>
                  <a:lnTo>
                    <a:pt x="1718183" y="175260"/>
                  </a:lnTo>
                  <a:lnTo>
                    <a:pt x="1716913" y="175260"/>
                  </a:lnTo>
                  <a:lnTo>
                    <a:pt x="1716913" y="127635"/>
                  </a:lnTo>
                  <a:lnTo>
                    <a:pt x="1641348" y="127635"/>
                  </a:lnTo>
                  <a:lnTo>
                    <a:pt x="1641348" y="420624"/>
                  </a:lnTo>
                  <a:lnTo>
                    <a:pt x="1725803" y="420624"/>
                  </a:lnTo>
                  <a:lnTo>
                    <a:pt x="1725803" y="275209"/>
                  </a:lnTo>
                  <a:lnTo>
                    <a:pt x="1733130" y="234746"/>
                  </a:lnTo>
                  <a:lnTo>
                    <a:pt x="1753044" y="207149"/>
                  </a:lnTo>
                  <a:lnTo>
                    <a:pt x="1782381" y="191350"/>
                  </a:lnTo>
                  <a:lnTo>
                    <a:pt x="1818005" y="186309"/>
                  </a:lnTo>
                  <a:lnTo>
                    <a:pt x="1818017" y="175260"/>
                  </a:lnTo>
                  <a:lnTo>
                    <a:pt x="1818132" y="118872"/>
                  </a:lnTo>
                  <a:close/>
                </a:path>
                <a:path w="3863340" h="428625">
                  <a:moveTo>
                    <a:pt x="2119884" y="224663"/>
                  </a:moveTo>
                  <a:lnTo>
                    <a:pt x="2114016" y="185928"/>
                  </a:lnTo>
                  <a:lnTo>
                    <a:pt x="2094191" y="149098"/>
                  </a:lnTo>
                  <a:lnTo>
                    <a:pt x="2061591" y="126911"/>
                  </a:lnTo>
                  <a:lnTo>
                    <a:pt x="2015363" y="118872"/>
                  </a:lnTo>
                  <a:lnTo>
                    <a:pt x="1978685" y="124434"/>
                  </a:lnTo>
                  <a:lnTo>
                    <a:pt x="1953933" y="137375"/>
                  </a:lnTo>
                  <a:lnTo>
                    <a:pt x="1938972" y="152146"/>
                  </a:lnTo>
                  <a:lnTo>
                    <a:pt x="1931670" y="163195"/>
                  </a:lnTo>
                  <a:lnTo>
                    <a:pt x="1930400" y="163195"/>
                  </a:lnTo>
                  <a:lnTo>
                    <a:pt x="1930654" y="127635"/>
                  </a:lnTo>
                  <a:lnTo>
                    <a:pt x="1847088" y="127635"/>
                  </a:lnTo>
                  <a:lnTo>
                    <a:pt x="1847088" y="420624"/>
                  </a:lnTo>
                  <a:lnTo>
                    <a:pt x="1931162" y="420624"/>
                  </a:lnTo>
                  <a:lnTo>
                    <a:pt x="1931162" y="244348"/>
                  </a:lnTo>
                  <a:lnTo>
                    <a:pt x="1934591" y="220383"/>
                  </a:lnTo>
                  <a:lnTo>
                    <a:pt x="1944649" y="201955"/>
                  </a:lnTo>
                  <a:lnTo>
                    <a:pt x="1960943" y="190119"/>
                  </a:lnTo>
                  <a:lnTo>
                    <a:pt x="1983105" y="185928"/>
                  </a:lnTo>
                  <a:lnTo>
                    <a:pt x="2007196" y="190741"/>
                  </a:lnTo>
                  <a:lnTo>
                    <a:pt x="2023554" y="203619"/>
                  </a:lnTo>
                  <a:lnTo>
                    <a:pt x="2032850" y="222262"/>
                  </a:lnTo>
                  <a:lnTo>
                    <a:pt x="2035810" y="244348"/>
                  </a:lnTo>
                  <a:lnTo>
                    <a:pt x="2035810" y="420624"/>
                  </a:lnTo>
                  <a:lnTo>
                    <a:pt x="2119884" y="420624"/>
                  </a:lnTo>
                  <a:lnTo>
                    <a:pt x="2119884" y="224663"/>
                  </a:lnTo>
                  <a:close/>
                </a:path>
                <a:path w="3863340" h="428625">
                  <a:moveTo>
                    <a:pt x="2636520" y="210185"/>
                  </a:moveTo>
                  <a:lnTo>
                    <a:pt x="2631567" y="152527"/>
                  </a:lnTo>
                  <a:lnTo>
                    <a:pt x="2617203" y="104597"/>
                  </a:lnTo>
                  <a:lnTo>
                    <a:pt x="2596273" y="69850"/>
                  </a:lnTo>
                  <a:lnTo>
                    <a:pt x="2594013" y="66090"/>
                  </a:lnTo>
                  <a:lnTo>
                    <a:pt x="2562568" y="36703"/>
                  </a:lnTo>
                  <a:lnTo>
                    <a:pt x="2544064" y="26974"/>
                  </a:lnTo>
                  <a:lnTo>
                    <a:pt x="2544064" y="210439"/>
                  </a:lnTo>
                  <a:lnTo>
                    <a:pt x="2541536" y="250698"/>
                  </a:lnTo>
                  <a:lnTo>
                    <a:pt x="2531491" y="288696"/>
                  </a:lnTo>
                  <a:lnTo>
                    <a:pt x="2510205" y="320624"/>
                  </a:lnTo>
                  <a:lnTo>
                    <a:pt x="2473972" y="342595"/>
                  </a:lnTo>
                  <a:lnTo>
                    <a:pt x="2419096" y="350774"/>
                  </a:lnTo>
                  <a:lnTo>
                    <a:pt x="2371471" y="350774"/>
                  </a:lnTo>
                  <a:lnTo>
                    <a:pt x="2371471" y="69850"/>
                  </a:lnTo>
                  <a:lnTo>
                    <a:pt x="2419096" y="69850"/>
                  </a:lnTo>
                  <a:lnTo>
                    <a:pt x="2473642" y="78041"/>
                  </a:lnTo>
                  <a:lnTo>
                    <a:pt x="2509824" y="100025"/>
                  </a:lnTo>
                  <a:lnTo>
                    <a:pt x="2531237" y="131991"/>
                  </a:lnTo>
                  <a:lnTo>
                    <a:pt x="2541447" y="170078"/>
                  </a:lnTo>
                  <a:lnTo>
                    <a:pt x="2544064" y="210439"/>
                  </a:lnTo>
                  <a:lnTo>
                    <a:pt x="2544064" y="26974"/>
                  </a:lnTo>
                  <a:lnTo>
                    <a:pt x="2523426" y="16103"/>
                  </a:lnTo>
                  <a:lnTo>
                    <a:pt x="2477198" y="3975"/>
                  </a:lnTo>
                  <a:lnTo>
                    <a:pt x="2424430" y="0"/>
                  </a:lnTo>
                  <a:lnTo>
                    <a:pt x="2281428" y="0"/>
                  </a:lnTo>
                  <a:lnTo>
                    <a:pt x="2281428" y="420624"/>
                  </a:lnTo>
                  <a:lnTo>
                    <a:pt x="2424430" y="420624"/>
                  </a:lnTo>
                  <a:lnTo>
                    <a:pt x="2471750" y="417588"/>
                  </a:lnTo>
                  <a:lnTo>
                    <a:pt x="2513711" y="408317"/>
                  </a:lnTo>
                  <a:lnTo>
                    <a:pt x="2550020" y="392620"/>
                  </a:lnTo>
                  <a:lnTo>
                    <a:pt x="2596477" y="350774"/>
                  </a:lnTo>
                  <a:lnTo>
                    <a:pt x="2604503" y="341071"/>
                  </a:lnTo>
                  <a:lnTo>
                    <a:pt x="2622092" y="304800"/>
                  </a:lnTo>
                  <a:lnTo>
                    <a:pt x="2632862" y="261239"/>
                  </a:lnTo>
                  <a:lnTo>
                    <a:pt x="2636520" y="210185"/>
                  </a:lnTo>
                  <a:close/>
                </a:path>
                <a:path w="3863340" h="428625">
                  <a:moveTo>
                    <a:pt x="3439668" y="128143"/>
                  </a:moveTo>
                  <a:lnTo>
                    <a:pt x="3373882" y="128143"/>
                  </a:lnTo>
                  <a:lnTo>
                    <a:pt x="3373882" y="54864"/>
                  </a:lnTo>
                  <a:lnTo>
                    <a:pt x="3290316" y="54864"/>
                  </a:lnTo>
                  <a:lnTo>
                    <a:pt x="3290316" y="329438"/>
                  </a:lnTo>
                  <a:lnTo>
                    <a:pt x="3294748" y="368236"/>
                  </a:lnTo>
                  <a:lnTo>
                    <a:pt x="3309620" y="399605"/>
                  </a:lnTo>
                  <a:lnTo>
                    <a:pt x="3337242" y="420598"/>
                  </a:lnTo>
                  <a:lnTo>
                    <a:pt x="3379978" y="428244"/>
                  </a:lnTo>
                  <a:lnTo>
                    <a:pt x="3401453" y="427075"/>
                  </a:lnTo>
                  <a:lnTo>
                    <a:pt x="3418929" y="424395"/>
                  </a:lnTo>
                  <a:lnTo>
                    <a:pt x="3431413" y="421449"/>
                  </a:lnTo>
                  <a:lnTo>
                    <a:pt x="3437890" y="419481"/>
                  </a:lnTo>
                  <a:lnTo>
                    <a:pt x="3437890" y="369189"/>
                  </a:lnTo>
                  <a:lnTo>
                    <a:pt x="3435604" y="369824"/>
                  </a:lnTo>
                  <a:lnTo>
                    <a:pt x="3427857" y="371094"/>
                  </a:lnTo>
                  <a:lnTo>
                    <a:pt x="3414395" y="371094"/>
                  </a:lnTo>
                  <a:lnTo>
                    <a:pt x="3397402" y="367982"/>
                  </a:lnTo>
                  <a:lnTo>
                    <a:pt x="3384651" y="359257"/>
                  </a:lnTo>
                  <a:lnTo>
                    <a:pt x="3376650" y="345808"/>
                  </a:lnTo>
                  <a:lnTo>
                    <a:pt x="3373882" y="328549"/>
                  </a:lnTo>
                  <a:lnTo>
                    <a:pt x="3373882" y="186182"/>
                  </a:lnTo>
                  <a:lnTo>
                    <a:pt x="3439668" y="186182"/>
                  </a:lnTo>
                  <a:lnTo>
                    <a:pt x="3439668" y="128143"/>
                  </a:lnTo>
                  <a:close/>
                </a:path>
                <a:path w="3863340" h="428625">
                  <a:moveTo>
                    <a:pt x="3863340" y="0"/>
                  </a:moveTo>
                  <a:lnTo>
                    <a:pt x="3777996" y="0"/>
                  </a:lnTo>
                  <a:lnTo>
                    <a:pt x="3777996" y="420624"/>
                  </a:lnTo>
                  <a:lnTo>
                    <a:pt x="3863340" y="420624"/>
                  </a:lnTo>
                  <a:lnTo>
                    <a:pt x="3863340" y="0"/>
                  </a:lnTo>
                  <a:close/>
                </a:path>
              </a:pathLst>
            </a:custGeom>
            <a:solidFill>
              <a:srgbClr val="F9F9F9"/>
            </a:solidFill>
          </p:spPr>
          <p:txBody>
            <a:bodyPr wrap="square" lIns="0" tIns="0" rIns="0" bIns="0" rtlCol="0"/>
            <a:lstStyle/>
            <a:p>
              <a:endParaRPr/>
            </a:p>
          </p:txBody>
        </p:sp>
        <p:pic>
          <p:nvPicPr>
            <p:cNvPr id="63" name="object 33">
              <a:extLst>
                <a:ext uri="{FF2B5EF4-FFF2-40B4-BE49-F238E27FC236}">
                  <a16:creationId xmlns:a16="http://schemas.microsoft.com/office/drawing/2014/main" id="{79C9045A-2739-692F-05FC-50820FFAC214}"/>
                </a:ext>
              </a:extLst>
            </p:cNvPr>
            <p:cNvPicPr/>
            <p:nvPr/>
          </p:nvPicPr>
          <p:blipFill>
            <a:blip r:embed="rId2" cstate="print"/>
            <a:stretch>
              <a:fillRect/>
            </a:stretch>
          </p:blipFill>
          <p:spPr>
            <a:xfrm>
              <a:off x="5102352" y="2558795"/>
              <a:ext cx="73151" cy="71627"/>
            </a:xfrm>
            <a:prstGeom prst="rect">
              <a:avLst/>
            </a:prstGeom>
          </p:spPr>
        </p:pic>
        <p:sp>
          <p:nvSpPr>
            <p:cNvPr id="64" name="object 34">
              <a:extLst>
                <a:ext uri="{FF2B5EF4-FFF2-40B4-BE49-F238E27FC236}">
                  <a16:creationId xmlns:a16="http://schemas.microsoft.com/office/drawing/2014/main" id="{9A25DFB0-015B-E563-3642-587BCC315F73}"/>
                </a:ext>
              </a:extLst>
            </p:cNvPr>
            <p:cNvSpPr/>
            <p:nvPr/>
          </p:nvSpPr>
          <p:spPr>
            <a:xfrm>
              <a:off x="3872484" y="2321051"/>
              <a:ext cx="1039494" cy="416559"/>
            </a:xfrm>
            <a:custGeom>
              <a:avLst/>
              <a:gdLst/>
              <a:ahLst/>
              <a:cxnLst/>
              <a:rect l="l" t="t" r="r" b="b"/>
              <a:pathLst>
                <a:path w="1039495" h="416560">
                  <a:moveTo>
                    <a:pt x="86868" y="9144"/>
                  </a:moveTo>
                  <a:lnTo>
                    <a:pt x="0" y="9144"/>
                  </a:lnTo>
                  <a:lnTo>
                    <a:pt x="0" y="301752"/>
                  </a:lnTo>
                  <a:lnTo>
                    <a:pt x="86868" y="301752"/>
                  </a:lnTo>
                  <a:lnTo>
                    <a:pt x="86868" y="9144"/>
                  </a:lnTo>
                  <a:close/>
                </a:path>
                <a:path w="1039495" h="416560">
                  <a:moveTo>
                    <a:pt x="413004" y="8763"/>
                  </a:moveTo>
                  <a:lnTo>
                    <a:pt x="329184" y="8763"/>
                  </a:lnTo>
                  <a:lnTo>
                    <a:pt x="329184" y="147574"/>
                  </a:lnTo>
                  <a:lnTo>
                    <a:pt x="326847" y="176758"/>
                  </a:lnTo>
                  <a:lnTo>
                    <a:pt x="318325" y="204063"/>
                  </a:lnTo>
                  <a:lnTo>
                    <a:pt x="301028" y="224269"/>
                  </a:lnTo>
                  <a:lnTo>
                    <a:pt x="272415" y="232156"/>
                  </a:lnTo>
                  <a:lnTo>
                    <a:pt x="243281" y="224256"/>
                  </a:lnTo>
                  <a:lnTo>
                    <a:pt x="226021" y="204012"/>
                  </a:lnTo>
                  <a:lnTo>
                    <a:pt x="217754" y="176707"/>
                  </a:lnTo>
                  <a:lnTo>
                    <a:pt x="215646" y="147574"/>
                  </a:lnTo>
                  <a:lnTo>
                    <a:pt x="218224" y="116154"/>
                  </a:lnTo>
                  <a:lnTo>
                    <a:pt x="227266" y="89103"/>
                  </a:lnTo>
                  <a:lnTo>
                    <a:pt x="244678" y="70142"/>
                  </a:lnTo>
                  <a:lnTo>
                    <a:pt x="272415" y="62992"/>
                  </a:lnTo>
                  <a:lnTo>
                    <a:pt x="300037" y="70154"/>
                  </a:lnTo>
                  <a:lnTo>
                    <a:pt x="317461" y="89141"/>
                  </a:lnTo>
                  <a:lnTo>
                    <a:pt x="326555" y="116205"/>
                  </a:lnTo>
                  <a:lnTo>
                    <a:pt x="329184" y="147574"/>
                  </a:lnTo>
                  <a:lnTo>
                    <a:pt x="329184" y="8763"/>
                  </a:lnTo>
                  <a:lnTo>
                    <a:pt x="329057" y="8763"/>
                  </a:lnTo>
                  <a:lnTo>
                    <a:pt x="329057" y="40132"/>
                  </a:lnTo>
                  <a:lnTo>
                    <a:pt x="327787" y="40132"/>
                  </a:lnTo>
                  <a:lnTo>
                    <a:pt x="320751" y="30060"/>
                  </a:lnTo>
                  <a:lnTo>
                    <a:pt x="306158" y="16687"/>
                  </a:lnTo>
                  <a:lnTo>
                    <a:pt x="282270" y="5003"/>
                  </a:lnTo>
                  <a:lnTo>
                    <a:pt x="247396" y="0"/>
                  </a:lnTo>
                  <a:lnTo>
                    <a:pt x="200228" y="8191"/>
                  </a:lnTo>
                  <a:lnTo>
                    <a:pt x="165557" y="30480"/>
                  </a:lnTo>
                  <a:lnTo>
                    <a:pt x="142240" y="63423"/>
                  </a:lnTo>
                  <a:lnTo>
                    <a:pt x="129082" y="103606"/>
                  </a:lnTo>
                  <a:lnTo>
                    <a:pt x="124968" y="147574"/>
                  </a:lnTo>
                  <a:lnTo>
                    <a:pt x="129082" y="191541"/>
                  </a:lnTo>
                  <a:lnTo>
                    <a:pt x="142227" y="231686"/>
                  </a:lnTo>
                  <a:lnTo>
                    <a:pt x="165557" y="264591"/>
                  </a:lnTo>
                  <a:lnTo>
                    <a:pt x="200228" y="286854"/>
                  </a:lnTo>
                  <a:lnTo>
                    <a:pt x="247396" y="295021"/>
                  </a:lnTo>
                  <a:lnTo>
                    <a:pt x="282778" y="289864"/>
                  </a:lnTo>
                  <a:lnTo>
                    <a:pt x="306832" y="277926"/>
                  </a:lnTo>
                  <a:lnTo>
                    <a:pt x="321259" y="264541"/>
                  </a:lnTo>
                  <a:lnTo>
                    <a:pt x="327787" y="255016"/>
                  </a:lnTo>
                  <a:lnTo>
                    <a:pt x="329057" y="255016"/>
                  </a:lnTo>
                  <a:lnTo>
                    <a:pt x="329057" y="288163"/>
                  </a:lnTo>
                  <a:lnTo>
                    <a:pt x="324040" y="315379"/>
                  </a:lnTo>
                  <a:lnTo>
                    <a:pt x="310502" y="335965"/>
                  </a:lnTo>
                  <a:lnTo>
                    <a:pt x="290690" y="349021"/>
                  </a:lnTo>
                  <a:lnTo>
                    <a:pt x="266827" y="353568"/>
                  </a:lnTo>
                  <a:lnTo>
                    <a:pt x="241401" y="349427"/>
                  </a:lnTo>
                  <a:lnTo>
                    <a:pt x="222465" y="339559"/>
                  </a:lnTo>
                  <a:lnTo>
                    <a:pt x="209677" y="327799"/>
                  </a:lnTo>
                  <a:lnTo>
                    <a:pt x="202692" y="318008"/>
                  </a:lnTo>
                  <a:lnTo>
                    <a:pt x="190690" y="324853"/>
                  </a:lnTo>
                  <a:lnTo>
                    <a:pt x="146177" y="351155"/>
                  </a:lnTo>
                  <a:lnTo>
                    <a:pt x="154990" y="366496"/>
                  </a:lnTo>
                  <a:lnTo>
                    <a:pt x="175488" y="388226"/>
                  </a:lnTo>
                  <a:lnTo>
                    <a:pt x="212166" y="407644"/>
                  </a:lnTo>
                  <a:lnTo>
                    <a:pt x="269494" y="416052"/>
                  </a:lnTo>
                  <a:lnTo>
                    <a:pt x="321665" y="408952"/>
                  </a:lnTo>
                  <a:lnTo>
                    <a:pt x="361924" y="388797"/>
                  </a:lnTo>
                  <a:lnTo>
                    <a:pt x="390423" y="357378"/>
                  </a:lnTo>
                  <a:lnTo>
                    <a:pt x="407390" y="316471"/>
                  </a:lnTo>
                  <a:lnTo>
                    <a:pt x="413004" y="267843"/>
                  </a:lnTo>
                  <a:lnTo>
                    <a:pt x="413004" y="255016"/>
                  </a:lnTo>
                  <a:lnTo>
                    <a:pt x="413004" y="232156"/>
                  </a:lnTo>
                  <a:lnTo>
                    <a:pt x="413004" y="62992"/>
                  </a:lnTo>
                  <a:lnTo>
                    <a:pt x="413004" y="40132"/>
                  </a:lnTo>
                  <a:lnTo>
                    <a:pt x="413004" y="8763"/>
                  </a:lnTo>
                  <a:close/>
                </a:path>
                <a:path w="1039495" h="416560">
                  <a:moveTo>
                    <a:pt x="1039368" y="115824"/>
                  </a:moveTo>
                  <a:lnTo>
                    <a:pt x="1031836" y="71691"/>
                  </a:lnTo>
                  <a:lnTo>
                    <a:pt x="1011199" y="38963"/>
                  </a:lnTo>
                  <a:lnTo>
                    <a:pt x="942314" y="4025"/>
                  </a:lnTo>
                  <a:lnTo>
                    <a:pt x="899922" y="0"/>
                  </a:lnTo>
                  <a:lnTo>
                    <a:pt x="850442" y="6680"/>
                  </a:lnTo>
                  <a:lnTo>
                    <a:pt x="816521" y="22123"/>
                  </a:lnTo>
                  <a:lnTo>
                    <a:pt x="795629" y="39497"/>
                  </a:lnTo>
                  <a:lnTo>
                    <a:pt x="785241" y="51943"/>
                  </a:lnTo>
                  <a:lnTo>
                    <a:pt x="833882" y="89154"/>
                  </a:lnTo>
                  <a:lnTo>
                    <a:pt x="841908" y="80098"/>
                  </a:lnTo>
                  <a:lnTo>
                    <a:pt x="854405" y="70548"/>
                  </a:lnTo>
                  <a:lnTo>
                    <a:pt x="871689" y="63017"/>
                  </a:lnTo>
                  <a:lnTo>
                    <a:pt x="894080" y="59944"/>
                  </a:lnTo>
                  <a:lnTo>
                    <a:pt x="919492" y="63284"/>
                  </a:lnTo>
                  <a:lnTo>
                    <a:pt x="938784" y="72961"/>
                  </a:lnTo>
                  <a:lnTo>
                    <a:pt x="951014" y="88557"/>
                  </a:lnTo>
                  <a:lnTo>
                    <a:pt x="955294" y="109601"/>
                  </a:lnTo>
                  <a:lnTo>
                    <a:pt x="955294" y="116078"/>
                  </a:lnTo>
                  <a:lnTo>
                    <a:pt x="955294" y="167005"/>
                  </a:lnTo>
                  <a:lnTo>
                    <a:pt x="955294" y="184658"/>
                  </a:lnTo>
                  <a:lnTo>
                    <a:pt x="952309" y="209283"/>
                  </a:lnTo>
                  <a:lnTo>
                    <a:pt x="943127" y="229895"/>
                  </a:lnTo>
                  <a:lnTo>
                    <a:pt x="927138" y="244043"/>
                  </a:lnTo>
                  <a:lnTo>
                    <a:pt x="903732" y="249301"/>
                  </a:lnTo>
                  <a:lnTo>
                    <a:pt x="886790" y="246583"/>
                  </a:lnTo>
                  <a:lnTo>
                    <a:pt x="873315" y="238747"/>
                  </a:lnTo>
                  <a:lnTo>
                    <a:pt x="864400" y="226326"/>
                  </a:lnTo>
                  <a:lnTo>
                    <a:pt x="861187" y="209804"/>
                  </a:lnTo>
                  <a:lnTo>
                    <a:pt x="864514" y="192786"/>
                  </a:lnTo>
                  <a:lnTo>
                    <a:pt x="875131" y="179222"/>
                  </a:lnTo>
                  <a:lnTo>
                    <a:pt x="894029" y="170256"/>
                  </a:lnTo>
                  <a:lnTo>
                    <a:pt x="922147" y="167005"/>
                  </a:lnTo>
                  <a:lnTo>
                    <a:pt x="955294" y="167005"/>
                  </a:lnTo>
                  <a:lnTo>
                    <a:pt x="955294" y="116078"/>
                  </a:lnTo>
                  <a:lnTo>
                    <a:pt x="918210" y="116078"/>
                  </a:lnTo>
                  <a:lnTo>
                    <a:pt x="860171" y="122047"/>
                  </a:lnTo>
                  <a:lnTo>
                    <a:pt x="815721" y="140208"/>
                  </a:lnTo>
                  <a:lnTo>
                    <a:pt x="787260" y="170942"/>
                  </a:lnTo>
                  <a:lnTo>
                    <a:pt x="777240" y="214630"/>
                  </a:lnTo>
                  <a:lnTo>
                    <a:pt x="784466" y="253555"/>
                  </a:lnTo>
                  <a:lnTo>
                    <a:pt x="804481" y="283438"/>
                  </a:lnTo>
                  <a:lnTo>
                    <a:pt x="834771" y="302615"/>
                  </a:lnTo>
                  <a:lnTo>
                    <a:pt x="872871" y="309372"/>
                  </a:lnTo>
                  <a:lnTo>
                    <a:pt x="910170" y="304279"/>
                  </a:lnTo>
                  <a:lnTo>
                    <a:pt x="935139" y="292633"/>
                  </a:lnTo>
                  <a:lnTo>
                    <a:pt x="949896" y="279857"/>
                  </a:lnTo>
                  <a:lnTo>
                    <a:pt x="956564" y="271399"/>
                  </a:lnTo>
                  <a:lnTo>
                    <a:pt x="957580" y="271399"/>
                  </a:lnTo>
                  <a:lnTo>
                    <a:pt x="957580" y="300609"/>
                  </a:lnTo>
                  <a:lnTo>
                    <a:pt x="1039368" y="300609"/>
                  </a:lnTo>
                  <a:lnTo>
                    <a:pt x="1039368" y="271399"/>
                  </a:lnTo>
                  <a:lnTo>
                    <a:pt x="1039368" y="249301"/>
                  </a:lnTo>
                  <a:lnTo>
                    <a:pt x="1039368" y="167005"/>
                  </a:lnTo>
                  <a:lnTo>
                    <a:pt x="1039368" y="115824"/>
                  </a:lnTo>
                  <a:close/>
                </a:path>
              </a:pathLst>
            </a:custGeom>
            <a:solidFill>
              <a:srgbClr val="F9F9F9"/>
            </a:solidFill>
          </p:spPr>
          <p:txBody>
            <a:bodyPr wrap="square" lIns="0" tIns="0" rIns="0" bIns="0" rtlCol="0"/>
            <a:lstStyle/>
            <a:p>
              <a:endParaRPr/>
            </a:p>
          </p:txBody>
        </p:sp>
        <p:pic>
          <p:nvPicPr>
            <p:cNvPr id="65" name="object 35">
              <a:extLst>
                <a:ext uri="{FF2B5EF4-FFF2-40B4-BE49-F238E27FC236}">
                  <a16:creationId xmlns:a16="http://schemas.microsoft.com/office/drawing/2014/main" id="{7C9F9DCA-E684-EDB2-FCE9-B45CC2D40C79}"/>
                </a:ext>
              </a:extLst>
            </p:cNvPr>
            <p:cNvPicPr/>
            <p:nvPr/>
          </p:nvPicPr>
          <p:blipFill>
            <a:blip r:embed="rId3" cstate="print"/>
            <a:stretch>
              <a:fillRect/>
            </a:stretch>
          </p:blipFill>
          <p:spPr>
            <a:xfrm>
              <a:off x="3869435" y="2194560"/>
              <a:ext cx="92963" cy="94487"/>
            </a:xfrm>
            <a:prstGeom prst="rect">
              <a:avLst/>
            </a:prstGeom>
          </p:spPr>
        </p:pic>
        <p:sp>
          <p:nvSpPr>
            <p:cNvPr id="66" name="object 36">
              <a:extLst>
                <a:ext uri="{FF2B5EF4-FFF2-40B4-BE49-F238E27FC236}">
                  <a16:creationId xmlns:a16="http://schemas.microsoft.com/office/drawing/2014/main" id="{E7E3EF5C-5B62-94A6-7EE8-07F1130E10A8}"/>
                </a:ext>
              </a:extLst>
            </p:cNvPr>
            <p:cNvSpPr/>
            <p:nvPr/>
          </p:nvSpPr>
          <p:spPr>
            <a:xfrm>
              <a:off x="4341876" y="2330195"/>
              <a:ext cx="86995" cy="292735"/>
            </a:xfrm>
            <a:custGeom>
              <a:avLst/>
              <a:gdLst/>
              <a:ahLst/>
              <a:cxnLst/>
              <a:rect l="l" t="t" r="r" b="b"/>
              <a:pathLst>
                <a:path w="86995" h="292735">
                  <a:moveTo>
                    <a:pt x="86869" y="0"/>
                  </a:moveTo>
                  <a:lnTo>
                    <a:pt x="0" y="0"/>
                  </a:lnTo>
                  <a:lnTo>
                    <a:pt x="0" y="292608"/>
                  </a:lnTo>
                  <a:lnTo>
                    <a:pt x="86869" y="292608"/>
                  </a:lnTo>
                  <a:lnTo>
                    <a:pt x="86869" y="0"/>
                  </a:lnTo>
                  <a:close/>
                </a:path>
              </a:pathLst>
            </a:custGeom>
            <a:solidFill>
              <a:srgbClr val="F9F9F9"/>
            </a:solidFill>
          </p:spPr>
          <p:txBody>
            <a:bodyPr wrap="square" lIns="0" tIns="0" rIns="0" bIns="0" rtlCol="0"/>
            <a:lstStyle/>
            <a:p>
              <a:endParaRPr/>
            </a:p>
          </p:txBody>
        </p:sp>
        <p:pic>
          <p:nvPicPr>
            <p:cNvPr id="67" name="object 37">
              <a:extLst>
                <a:ext uri="{FF2B5EF4-FFF2-40B4-BE49-F238E27FC236}">
                  <a16:creationId xmlns:a16="http://schemas.microsoft.com/office/drawing/2014/main" id="{E3F9AC8B-F34D-0767-EDA3-0D5655D4780C}"/>
                </a:ext>
              </a:extLst>
            </p:cNvPr>
            <p:cNvPicPr/>
            <p:nvPr/>
          </p:nvPicPr>
          <p:blipFill>
            <a:blip r:embed="rId4" cstate="print"/>
            <a:stretch>
              <a:fillRect/>
            </a:stretch>
          </p:blipFill>
          <p:spPr>
            <a:xfrm>
              <a:off x="4337303" y="2194560"/>
              <a:ext cx="94487" cy="94487"/>
            </a:xfrm>
            <a:prstGeom prst="rect">
              <a:avLst/>
            </a:prstGeom>
          </p:spPr>
        </p:pic>
        <p:pic>
          <p:nvPicPr>
            <p:cNvPr id="68" name="object 38">
              <a:extLst>
                <a:ext uri="{FF2B5EF4-FFF2-40B4-BE49-F238E27FC236}">
                  <a16:creationId xmlns:a16="http://schemas.microsoft.com/office/drawing/2014/main" id="{AB94D102-3238-3EFB-AFC7-E389EB3A7A3A}"/>
                </a:ext>
              </a:extLst>
            </p:cNvPr>
            <p:cNvPicPr/>
            <p:nvPr/>
          </p:nvPicPr>
          <p:blipFill>
            <a:blip r:embed="rId5" cstate="print"/>
            <a:stretch>
              <a:fillRect/>
            </a:stretch>
          </p:blipFill>
          <p:spPr>
            <a:xfrm>
              <a:off x="825092" y="2200655"/>
              <a:ext cx="182271" cy="182252"/>
            </a:xfrm>
            <a:prstGeom prst="rect">
              <a:avLst/>
            </a:prstGeom>
          </p:spPr>
        </p:pic>
        <p:sp>
          <p:nvSpPr>
            <p:cNvPr id="69" name="object 39">
              <a:extLst>
                <a:ext uri="{FF2B5EF4-FFF2-40B4-BE49-F238E27FC236}">
                  <a16:creationId xmlns:a16="http://schemas.microsoft.com/office/drawing/2014/main" id="{4D3F8A51-0D6C-0AA7-E3DA-DC88497F079A}"/>
                </a:ext>
              </a:extLst>
            </p:cNvPr>
            <p:cNvSpPr/>
            <p:nvPr/>
          </p:nvSpPr>
          <p:spPr>
            <a:xfrm>
              <a:off x="323684" y="2200655"/>
              <a:ext cx="786130" cy="421005"/>
            </a:xfrm>
            <a:custGeom>
              <a:avLst/>
              <a:gdLst/>
              <a:ahLst/>
              <a:cxnLst/>
              <a:rect l="l" t="t" r="r" b="b"/>
              <a:pathLst>
                <a:path w="786130" h="421005">
                  <a:moveTo>
                    <a:pt x="420027" y="279654"/>
                  </a:moveTo>
                  <a:lnTo>
                    <a:pt x="394093" y="240436"/>
                  </a:lnTo>
                  <a:lnTo>
                    <a:pt x="258064" y="236982"/>
                  </a:lnTo>
                  <a:lnTo>
                    <a:pt x="228904" y="230974"/>
                  </a:lnTo>
                  <a:lnTo>
                    <a:pt x="205066" y="214871"/>
                  </a:lnTo>
                  <a:lnTo>
                    <a:pt x="188937" y="191033"/>
                  </a:lnTo>
                  <a:lnTo>
                    <a:pt x="182968" y="162179"/>
                  </a:lnTo>
                  <a:lnTo>
                    <a:pt x="182892" y="42418"/>
                  </a:lnTo>
                  <a:lnTo>
                    <a:pt x="179552" y="25882"/>
                  </a:lnTo>
                  <a:lnTo>
                    <a:pt x="170446" y="12407"/>
                  </a:lnTo>
                  <a:lnTo>
                    <a:pt x="156959" y="3327"/>
                  </a:lnTo>
                  <a:lnTo>
                    <a:pt x="140462" y="0"/>
                  </a:lnTo>
                  <a:lnTo>
                    <a:pt x="42024" y="0"/>
                  </a:lnTo>
                  <a:lnTo>
                    <a:pt x="17551" y="7569"/>
                  </a:lnTo>
                  <a:lnTo>
                    <a:pt x="2717" y="26212"/>
                  </a:lnTo>
                  <a:lnTo>
                    <a:pt x="0" y="49885"/>
                  </a:lnTo>
                  <a:lnTo>
                    <a:pt x="11899" y="72517"/>
                  </a:lnTo>
                  <a:lnTo>
                    <a:pt x="100622" y="161290"/>
                  </a:lnTo>
                  <a:lnTo>
                    <a:pt x="101434" y="162179"/>
                  </a:lnTo>
                  <a:lnTo>
                    <a:pt x="347459" y="408051"/>
                  </a:lnTo>
                  <a:lnTo>
                    <a:pt x="370116" y="420001"/>
                  </a:lnTo>
                  <a:lnTo>
                    <a:pt x="393801" y="417296"/>
                  </a:lnTo>
                  <a:lnTo>
                    <a:pt x="412457" y="402450"/>
                  </a:lnTo>
                  <a:lnTo>
                    <a:pt x="420027" y="377952"/>
                  </a:lnTo>
                  <a:lnTo>
                    <a:pt x="420027" y="279654"/>
                  </a:lnTo>
                  <a:close/>
                </a:path>
                <a:path w="786130" h="421005">
                  <a:moveTo>
                    <a:pt x="683679" y="279654"/>
                  </a:moveTo>
                  <a:lnTo>
                    <a:pt x="657745" y="240436"/>
                  </a:lnTo>
                  <a:lnTo>
                    <a:pt x="521716" y="236982"/>
                  </a:lnTo>
                  <a:lnTo>
                    <a:pt x="492556" y="230974"/>
                  </a:lnTo>
                  <a:lnTo>
                    <a:pt x="468718" y="214871"/>
                  </a:lnTo>
                  <a:lnTo>
                    <a:pt x="452589" y="191033"/>
                  </a:lnTo>
                  <a:lnTo>
                    <a:pt x="446620" y="162179"/>
                  </a:lnTo>
                  <a:lnTo>
                    <a:pt x="446544" y="42418"/>
                  </a:lnTo>
                  <a:lnTo>
                    <a:pt x="443204" y="25882"/>
                  </a:lnTo>
                  <a:lnTo>
                    <a:pt x="434098" y="12407"/>
                  </a:lnTo>
                  <a:lnTo>
                    <a:pt x="420611" y="3327"/>
                  </a:lnTo>
                  <a:lnTo>
                    <a:pt x="404114" y="0"/>
                  </a:lnTo>
                  <a:lnTo>
                    <a:pt x="305676" y="0"/>
                  </a:lnTo>
                  <a:lnTo>
                    <a:pt x="281203" y="7569"/>
                  </a:lnTo>
                  <a:lnTo>
                    <a:pt x="266369" y="26212"/>
                  </a:lnTo>
                  <a:lnTo>
                    <a:pt x="263652" y="49885"/>
                  </a:lnTo>
                  <a:lnTo>
                    <a:pt x="275551" y="72517"/>
                  </a:lnTo>
                  <a:lnTo>
                    <a:pt x="364274" y="161290"/>
                  </a:lnTo>
                  <a:lnTo>
                    <a:pt x="365086" y="162179"/>
                  </a:lnTo>
                  <a:lnTo>
                    <a:pt x="611111" y="408051"/>
                  </a:lnTo>
                  <a:lnTo>
                    <a:pt x="633768" y="420001"/>
                  </a:lnTo>
                  <a:lnTo>
                    <a:pt x="657453" y="417296"/>
                  </a:lnTo>
                  <a:lnTo>
                    <a:pt x="676109" y="402450"/>
                  </a:lnTo>
                  <a:lnTo>
                    <a:pt x="683679" y="377952"/>
                  </a:lnTo>
                  <a:lnTo>
                    <a:pt x="683679" y="279654"/>
                  </a:lnTo>
                  <a:close/>
                </a:path>
                <a:path w="786130" h="421005">
                  <a:moveTo>
                    <a:pt x="747052" y="391668"/>
                  </a:moveTo>
                  <a:lnTo>
                    <a:pt x="723303" y="391668"/>
                  </a:lnTo>
                  <a:lnTo>
                    <a:pt x="723303" y="396240"/>
                  </a:lnTo>
                  <a:lnTo>
                    <a:pt x="732332" y="396240"/>
                  </a:lnTo>
                  <a:lnTo>
                    <a:pt x="732332" y="420624"/>
                  </a:lnTo>
                  <a:lnTo>
                    <a:pt x="738022" y="420624"/>
                  </a:lnTo>
                  <a:lnTo>
                    <a:pt x="738022" y="396240"/>
                  </a:lnTo>
                  <a:lnTo>
                    <a:pt x="747052" y="396240"/>
                  </a:lnTo>
                  <a:lnTo>
                    <a:pt x="747052" y="391668"/>
                  </a:lnTo>
                  <a:close/>
                </a:path>
                <a:path w="786130" h="421005">
                  <a:moveTo>
                    <a:pt x="785787" y="391668"/>
                  </a:moveTo>
                  <a:lnTo>
                    <a:pt x="777455" y="391668"/>
                  </a:lnTo>
                  <a:lnTo>
                    <a:pt x="769404" y="412115"/>
                  </a:lnTo>
                  <a:lnTo>
                    <a:pt x="764222" y="398018"/>
                  </a:lnTo>
                  <a:lnTo>
                    <a:pt x="761898" y="391668"/>
                  </a:lnTo>
                  <a:lnTo>
                    <a:pt x="753567" y="391668"/>
                  </a:lnTo>
                  <a:lnTo>
                    <a:pt x="753567" y="420497"/>
                  </a:lnTo>
                  <a:lnTo>
                    <a:pt x="758850" y="420497"/>
                  </a:lnTo>
                  <a:lnTo>
                    <a:pt x="758850" y="398018"/>
                  </a:lnTo>
                  <a:lnTo>
                    <a:pt x="758990" y="398018"/>
                  </a:lnTo>
                  <a:lnTo>
                    <a:pt x="767740" y="420497"/>
                  </a:lnTo>
                  <a:lnTo>
                    <a:pt x="771626" y="420497"/>
                  </a:lnTo>
                  <a:lnTo>
                    <a:pt x="774877" y="412115"/>
                  </a:lnTo>
                  <a:lnTo>
                    <a:pt x="780376" y="398018"/>
                  </a:lnTo>
                  <a:lnTo>
                    <a:pt x="780516" y="398018"/>
                  </a:lnTo>
                  <a:lnTo>
                    <a:pt x="780516" y="420497"/>
                  </a:lnTo>
                  <a:lnTo>
                    <a:pt x="785787" y="420497"/>
                  </a:lnTo>
                  <a:lnTo>
                    <a:pt x="785787" y="398018"/>
                  </a:lnTo>
                  <a:lnTo>
                    <a:pt x="785787" y="391668"/>
                  </a:lnTo>
                  <a:close/>
                </a:path>
              </a:pathLst>
            </a:custGeom>
            <a:solidFill>
              <a:srgbClr val="F9F9F9"/>
            </a:solidFill>
          </p:spPr>
          <p:txBody>
            <a:bodyPr wrap="square" lIns="0" tIns="0" rIns="0" bIns="0" rtlCol="0"/>
            <a:lstStyle/>
            <a:p>
              <a:endParaRPr/>
            </a:p>
          </p:txBody>
        </p:sp>
      </p:grpSp>
      <p:sp>
        <p:nvSpPr>
          <p:cNvPr id="19" name="Title 11">
            <a:extLst>
              <a:ext uri="{FF2B5EF4-FFF2-40B4-BE49-F238E27FC236}">
                <a16:creationId xmlns:a16="http://schemas.microsoft.com/office/drawing/2014/main" id="{C711731C-A395-3868-02F1-66EC3813F5A3}"/>
              </a:ext>
            </a:extLst>
          </p:cNvPr>
          <p:cNvSpPr>
            <a:spLocks noGrp="1"/>
          </p:cNvSpPr>
          <p:nvPr>
            <p:ph type="title" hasCustomPrompt="1"/>
          </p:nvPr>
        </p:nvSpPr>
        <p:spPr>
          <a:xfrm>
            <a:off x="274638" y="1968270"/>
            <a:ext cx="11642723" cy="2477009"/>
          </a:xfrm>
        </p:spPr>
        <p:txBody>
          <a:bodyPr wrap="square" anchor="t"/>
          <a:lstStyle>
            <a:lvl1pPr>
              <a:lnSpc>
                <a:spcPts val="9000"/>
              </a:lnSpc>
              <a:defRPr sz="9600" spc="-300">
                <a:solidFill>
                  <a:schemeClr val="bg1"/>
                </a:solidFill>
              </a:defRPr>
            </a:lvl1pPr>
          </a:lstStyle>
          <a:p>
            <a:r>
              <a:rPr lang="en-US" dirty="0"/>
              <a:t>Click to Add Presentation Title</a:t>
            </a:r>
          </a:p>
        </p:txBody>
      </p:sp>
      <p:pic>
        <p:nvPicPr>
          <p:cNvPr id="5" name="Picture 4">
            <a:extLst>
              <a:ext uri="{FF2B5EF4-FFF2-40B4-BE49-F238E27FC236}">
                <a16:creationId xmlns:a16="http://schemas.microsoft.com/office/drawing/2014/main" id="{72E45B1F-9F31-E7E5-7F31-419F02806DA6}"/>
              </a:ext>
            </a:extLst>
          </p:cNvPr>
          <p:cNvPicPr>
            <a:picLocks noChangeAspect="1"/>
          </p:cNvPicPr>
          <p:nvPr userDrawn="1"/>
        </p:nvPicPr>
        <p:blipFill rotWithShape="1">
          <a:blip r:embed="rId6">
            <a:extLst>
              <a:ext uri="{28A0092B-C50C-407E-A947-70E740481C1C}">
                <a14:useLocalDpi xmlns:a14="http://schemas.microsoft.com/office/drawing/2010/main"/>
              </a:ext>
            </a:extLst>
          </a:blip>
          <a:srcRect t="76960"/>
          <a:stretch/>
        </p:blipFill>
        <p:spPr>
          <a:xfrm>
            <a:off x="0" y="5270268"/>
            <a:ext cx="12192000" cy="1587725"/>
          </a:xfrm>
          <a:prstGeom prst="rect">
            <a:avLst/>
          </a:prstGeom>
          <a:gradFill>
            <a:gsLst>
              <a:gs pos="0">
                <a:schemeClr val="accent1"/>
              </a:gs>
              <a:gs pos="50000">
                <a:schemeClr val="accent2"/>
              </a:gs>
              <a:gs pos="100000">
                <a:schemeClr val="accent3"/>
              </a:gs>
            </a:gsLst>
            <a:lin ang="16200000" scaled="0"/>
          </a:gradFill>
          <a:ln>
            <a:noFill/>
          </a:ln>
          <a:effectLst>
            <a:outerShdw blurRad="635000" dist="38100" dir="5400000" algn="ctr" rotWithShape="0">
              <a:schemeClr val="bg1">
                <a:lumMod val="10000"/>
                <a:alpha val="29000"/>
              </a:schemeClr>
            </a:outerShdw>
          </a:effectLst>
        </p:spPr>
      </p:pic>
      <p:sp>
        <p:nvSpPr>
          <p:cNvPr id="15" name="Text Placeholder 14">
            <a:extLst>
              <a:ext uri="{FF2B5EF4-FFF2-40B4-BE49-F238E27FC236}">
                <a16:creationId xmlns:a16="http://schemas.microsoft.com/office/drawing/2014/main" id="{F33C628C-D29E-A044-B2EB-3DC2477C6A1B}"/>
              </a:ext>
            </a:extLst>
          </p:cNvPr>
          <p:cNvSpPr>
            <a:spLocks noGrp="1"/>
          </p:cNvSpPr>
          <p:nvPr>
            <p:ph type="body" sz="quarter" idx="11" hasCustomPrompt="1"/>
          </p:nvPr>
        </p:nvSpPr>
        <p:spPr>
          <a:xfrm>
            <a:off x="274637" y="5467552"/>
            <a:ext cx="7860071" cy="369332"/>
          </a:xfrm>
        </p:spPr>
        <p:txBody>
          <a:bodyPr wrap="square" lIns="45720" tIns="0" rIns="0" bIns="0" anchor="t">
            <a:spAutoFit/>
          </a:bodyPr>
          <a:lstStyle>
            <a:lvl1pPr marL="0" indent="0" algn="l">
              <a:spcAft>
                <a:spcPts val="0"/>
              </a:spcAft>
              <a:buNone/>
              <a:defRPr sz="2400" b="1" i="0">
                <a:solidFill>
                  <a:schemeClr val="bg1"/>
                </a:solidFill>
                <a:latin typeface="+mn-lt"/>
              </a:defRPr>
            </a:lvl1pPr>
            <a:lvl2pPr marL="457200" indent="0">
              <a:buNone/>
              <a:defRPr sz="2400">
                <a:solidFill>
                  <a:schemeClr val="bg1"/>
                </a:solidFill>
              </a:defRPr>
            </a:lvl2pPr>
            <a:lvl3pPr marL="914400" indent="0">
              <a:buNone/>
              <a:defRPr sz="2400">
                <a:solidFill>
                  <a:schemeClr val="bg1"/>
                </a:solidFill>
              </a:defRPr>
            </a:lvl3pPr>
            <a:lvl4pPr marL="1371600" indent="0">
              <a:buNone/>
              <a:defRPr sz="2400">
                <a:solidFill>
                  <a:schemeClr val="bg1"/>
                </a:solidFill>
              </a:defRPr>
            </a:lvl4pPr>
            <a:lvl5pPr marL="1828800" indent="0">
              <a:buNone/>
              <a:defRPr sz="2400">
                <a:solidFill>
                  <a:schemeClr val="bg1"/>
                </a:solidFill>
              </a:defRPr>
            </a:lvl5pPr>
          </a:lstStyle>
          <a:p>
            <a:pPr lvl="0"/>
            <a:r>
              <a:rPr lang="en-US" dirty="0"/>
              <a:t>Add Presenter’s Name</a:t>
            </a:r>
          </a:p>
        </p:txBody>
      </p:sp>
      <p:sp>
        <p:nvSpPr>
          <p:cNvPr id="70" name="Text Placeholder 14">
            <a:extLst>
              <a:ext uri="{FF2B5EF4-FFF2-40B4-BE49-F238E27FC236}">
                <a16:creationId xmlns:a16="http://schemas.microsoft.com/office/drawing/2014/main" id="{6E0FA264-AFCA-4298-079B-2D41A6D883A1}"/>
              </a:ext>
            </a:extLst>
          </p:cNvPr>
          <p:cNvSpPr>
            <a:spLocks noGrp="1"/>
          </p:cNvSpPr>
          <p:nvPr>
            <p:ph type="body" sz="quarter" idx="12" hasCustomPrompt="1"/>
          </p:nvPr>
        </p:nvSpPr>
        <p:spPr>
          <a:xfrm>
            <a:off x="274638" y="6347171"/>
            <a:ext cx="5120322" cy="276999"/>
          </a:xfrm>
        </p:spPr>
        <p:txBody>
          <a:bodyPr wrap="square" lIns="45720" tIns="0" rIns="0" bIns="0" anchor="t">
            <a:spAutoFit/>
          </a:bodyPr>
          <a:lstStyle>
            <a:lvl1pPr marL="0" indent="0" algn="l">
              <a:spcAft>
                <a:spcPts val="0"/>
              </a:spcAft>
              <a:buNone/>
              <a:defRPr sz="1800" b="0" i="0">
                <a:solidFill>
                  <a:schemeClr val="bg1"/>
                </a:solidFill>
                <a:latin typeface="+mn-lt"/>
              </a:defRPr>
            </a:lvl1pPr>
            <a:lvl2pPr marL="457200" indent="0">
              <a:buNone/>
              <a:defRPr sz="2400">
                <a:solidFill>
                  <a:schemeClr val="bg1"/>
                </a:solidFill>
              </a:defRPr>
            </a:lvl2pPr>
            <a:lvl3pPr marL="914400" indent="0">
              <a:buNone/>
              <a:defRPr sz="2400">
                <a:solidFill>
                  <a:schemeClr val="bg1"/>
                </a:solidFill>
              </a:defRPr>
            </a:lvl3pPr>
            <a:lvl4pPr marL="1371600" indent="0">
              <a:buNone/>
              <a:defRPr sz="2400">
                <a:solidFill>
                  <a:schemeClr val="bg1"/>
                </a:solidFill>
              </a:defRPr>
            </a:lvl4pPr>
            <a:lvl5pPr marL="1828800" indent="0">
              <a:buNone/>
              <a:defRPr sz="2400">
                <a:solidFill>
                  <a:schemeClr val="bg1"/>
                </a:solidFill>
              </a:defRPr>
            </a:lvl5pPr>
          </a:lstStyle>
          <a:p>
            <a:pPr lvl="0"/>
            <a:r>
              <a:rPr lang="en-US" dirty="0"/>
              <a:t>Click to Date</a:t>
            </a:r>
          </a:p>
        </p:txBody>
      </p:sp>
      <p:sp>
        <p:nvSpPr>
          <p:cNvPr id="23" name="Text Placeholder 14">
            <a:extLst>
              <a:ext uri="{FF2B5EF4-FFF2-40B4-BE49-F238E27FC236}">
                <a16:creationId xmlns:a16="http://schemas.microsoft.com/office/drawing/2014/main" id="{0C1EC897-F35E-7BC4-41B0-667A5B137527}"/>
              </a:ext>
            </a:extLst>
          </p:cNvPr>
          <p:cNvSpPr>
            <a:spLocks noGrp="1"/>
          </p:cNvSpPr>
          <p:nvPr>
            <p:ph type="body" sz="quarter" idx="13" hasCustomPrompt="1"/>
          </p:nvPr>
        </p:nvSpPr>
        <p:spPr>
          <a:xfrm>
            <a:off x="274636" y="5879464"/>
            <a:ext cx="7860071" cy="369332"/>
          </a:xfrm>
        </p:spPr>
        <p:txBody>
          <a:bodyPr wrap="square" lIns="45720" tIns="0" rIns="0" bIns="0" anchor="t">
            <a:spAutoFit/>
          </a:bodyPr>
          <a:lstStyle>
            <a:lvl1pPr marL="0" indent="0" algn="l">
              <a:spcAft>
                <a:spcPts val="0"/>
              </a:spcAft>
              <a:buNone/>
              <a:defRPr sz="2400" b="0" i="0">
                <a:solidFill>
                  <a:schemeClr val="bg1"/>
                </a:solidFill>
                <a:latin typeface="+mn-lt"/>
              </a:defRPr>
            </a:lvl1pPr>
            <a:lvl2pPr marL="457200" indent="0">
              <a:buNone/>
              <a:defRPr sz="2400">
                <a:solidFill>
                  <a:schemeClr val="bg1"/>
                </a:solidFill>
              </a:defRPr>
            </a:lvl2pPr>
            <a:lvl3pPr marL="914400" indent="0">
              <a:buNone/>
              <a:defRPr sz="2400">
                <a:solidFill>
                  <a:schemeClr val="bg1"/>
                </a:solidFill>
              </a:defRPr>
            </a:lvl3pPr>
            <a:lvl4pPr marL="1371600" indent="0">
              <a:buNone/>
              <a:defRPr sz="2400">
                <a:solidFill>
                  <a:schemeClr val="bg1"/>
                </a:solidFill>
              </a:defRPr>
            </a:lvl4pPr>
            <a:lvl5pPr marL="1828800" indent="0">
              <a:buNone/>
              <a:defRPr sz="2400">
                <a:solidFill>
                  <a:schemeClr val="bg1"/>
                </a:solidFill>
              </a:defRPr>
            </a:lvl5pPr>
          </a:lstStyle>
          <a:p>
            <a:pPr lvl="0"/>
            <a:r>
              <a:rPr lang="en-US" dirty="0"/>
              <a:t>Add Presenter’s Title</a:t>
            </a:r>
          </a:p>
        </p:txBody>
      </p:sp>
    </p:spTree>
    <p:extLst>
      <p:ext uri="{BB962C8B-B14F-4D97-AF65-F5344CB8AC3E}">
        <p14:creationId xmlns:p14="http://schemas.microsoft.com/office/powerpoint/2010/main" val="2694798571"/>
      </p:ext>
    </p:extLst>
  </p:cSld>
  <p:clrMapOvr>
    <a:masterClrMapping/>
  </p:clrMapOvr>
  <p:transition>
    <p:fade/>
  </p:transition>
  <p:hf hdr="0"/>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lue">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4806619E-0D7A-9542-B876-715BCDBE0FC5}"/>
              </a:ext>
            </a:extLst>
          </p:cNvPr>
          <p:cNvSpPr/>
          <p:nvPr/>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 Placeholder 5">
            <a:extLst>
              <a:ext uri="{FF2B5EF4-FFF2-40B4-BE49-F238E27FC236}">
                <a16:creationId xmlns:a16="http://schemas.microsoft.com/office/drawing/2014/main" id="{7AF1D9A5-1403-0C4A-B49E-80B4244AB2BB}"/>
              </a:ext>
            </a:extLst>
          </p:cNvPr>
          <p:cNvSpPr>
            <a:spLocks noGrp="1"/>
          </p:cNvSpPr>
          <p:nvPr>
            <p:ph type="body" sz="quarter" idx="11" hasCustomPrompt="1"/>
          </p:nvPr>
        </p:nvSpPr>
        <p:spPr>
          <a:xfrm>
            <a:off x="274637" y="394710"/>
            <a:ext cx="5782547" cy="5039055"/>
          </a:xfrm>
        </p:spPr>
        <p:txBody>
          <a:bodyPr lIns="0" tIns="0" rIns="0" bIns="0" anchor="b">
            <a:noAutofit/>
          </a:bodyPr>
          <a:lstStyle>
            <a:lvl1pPr marL="0" indent="0">
              <a:lnSpc>
                <a:spcPts val="7000"/>
              </a:lnSpc>
              <a:spcBef>
                <a:spcPts val="0"/>
              </a:spcBef>
              <a:spcAft>
                <a:spcPts val="0"/>
              </a:spcAft>
              <a:buNone/>
              <a:defRPr sz="8000" b="1" spc="0" baseline="0">
                <a:solidFill>
                  <a:schemeClr val="bg1"/>
                </a:solidFill>
              </a:defRPr>
            </a:lvl1pPr>
            <a:lvl2pPr marL="457109" indent="0">
              <a:buNone/>
              <a:defRPr sz="44500"/>
            </a:lvl2pPr>
            <a:lvl3pPr marL="914217" indent="0">
              <a:buNone/>
              <a:defRPr sz="44500"/>
            </a:lvl3pPr>
            <a:lvl4pPr marL="1371326" indent="0">
              <a:buNone/>
              <a:defRPr sz="44500"/>
            </a:lvl4pPr>
            <a:lvl5pPr marL="1828435" indent="0">
              <a:buNone/>
              <a:defRPr sz="44500"/>
            </a:lvl5pPr>
          </a:lstStyle>
          <a:p>
            <a:pPr lvl="0"/>
            <a:r>
              <a:rPr lang="en-US" dirty="0"/>
              <a:t>Click to Add Section Title</a:t>
            </a:r>
          </a:p>
        </p:txBody>
      </p:sp>
      <p:cxnSp>
        <p:nvCxnSpPr>
          <p:cNvPr id="21" name="Straight Connector 20">
            <a:extLst>
              <a:ext uri="{FF2B5EF4-FFF2-40B4-BE49-F238E27FC236}">
                <a16:creationId xmlns:a16="http://schemas.microsoft.com/office/drawing/2014/main" id="{1EFF45D2-771B-474E-8CEE-89C9FD1A8BBD}"/>
              </a:ext>
            </a:extLst>
          </p:cNvPr>
          <p:cNvCxnSpPr/>
          <p:nvPr/>
        </p:nvCxnSpPr>
        <p:spPr>
          <a:xfrm>
            <a:off x="0" y="365760"/>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Slide Number Placeholder 5">
            <a:extLst>
              <a:ext uri="{FF2B5EF4-FFF2-40B4-BE49-F238E27FC236}">
                <a16:creationId xmlns:a16="http://schemas.microsoft.com/office/drawing/2014/main" id="{BF769F37-E10D-4443-858A-1F2CDF88CF37}"/>
              </a:ext>
            </a:extLst>
          </p:cNvPr>
          <p:cNvSpPr>
            <a:spLocks noGrp="1"/>
          </p:cNvSpPr>
          <p:nvPr>
            <p:ph type="sldNum" sz="quarter" idx="4"/>
          </p:nvPr>
        </p:nvSpPr>
        <p:spPr>
          <a:xfrm>
            <a:off x="274638" y="133411"/>
            <a:ext cx="211271" cy="120013"/>
          </a:xfrm>
          <a:prstGeom prst="rect">
            <a:avLst/>
          </a:prstGeom>
        </p:spPr>
        <p:txBody>
          <a:bodyPr vert="horz" lIns="0" tIns="0" rIns="0" bIns="0" rtlCol="0" anchor="ctr"/>
          <a:lstStyle>
            <a:lvl1pPr algn="l">
              <a:defRPr sz="500" b="1" i="0" spc="50" baseline="0">
                <a:solidFill>
                  <a:schemeClr val="bg1"/>
                </a:solidFill>
                <a:latin typeface="+mn-lt"/>
                <a:cs typeface="Arial" panose="020B0604020202020204" pitchFamily="34" charset="0"/>
              </a:defRPr>
            </a:lvl1pPr>
          </a:lstStyle>
          <a:p>
            <a:fld id="{4571BA12-316B-0A40-BB3D-1A8CDD33E9E5}" type="slidenum">
              <a:rPr lang="en-US" smtClean="0"/>
              <a:pPr/>
              <a:t>‹#›</a:t>
            </a:fld>
            <a:endParaRPr lang="en-US" dirty="0"/>
          </a:p>
        </p:txBody>
      </p:sp>
      <p:sp>
        <p:nvSpPr>
          <p:cNvPr id="24" name="SUHO LIMITED RELEASE…">
            <a:extLst>
              <a:ext uri="{FF2B5EF4-FFF2-40B4-BE49-F238E27FC236}">
                <a16:creationId xmlns:a16="http://schemas.microsoft.com/office/drawing/2014/main" id="{29242262-316D-ED4F-9264-1A715315B9FE}"/>
              </a:ext>
            </a:extLst>
          </p:cNvPr>
          <p:cNvSpPr txBox="1"/>
          <p:nvPr/>
        </p:nvSpPr>
        <p:spPr>
          <a:xfrm>
            <a:off x="6292066" y="141350"/>
            <a:ext cx="5625296" cy="915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chor="ctr">
            <a:spAutoFit/>
          </a:bodyPr>
          <a:lstStyle/>
          <a:p>
            <a:pPr algn="r">
              <a:lnSpc>
                <a:spcPts val="750"/>
              </a:lnSpc>
              <a:defRPr sz="1500" b="1" cap="all">
                <a:solidFill>
                  <a:srgbClr val="9F9F94"/>
                </a:solidFill>
              </a:defRPr>
            </a:pPr>
            <a:r>
              <a:rPr lang="en-US" sz="500" b="1" spc="50" baseline="0" dirty="0">
                <a:solidFill>
                  <a:schemeClr val="bg1"/>
                </a:solidFill>
                <a:latin typeface="+mn-lt"/>
                <a:ea typeface="Helvetica Neue" panose="02000503000000020004" pitchFamily="2" charset="0"/>
                <a:cs typeface="Arial" panose="020B0604020202020204" pitchFamily="34" charset="0"/>
              </a:rPr>
              <a:t>© 2022 Western Digital Corporation or its affiliates  All rights reserved</a:t>
            </a:r>
          </a:p>
        </p:txBody>
      </p:sp>
      <p:sp>
        <p:nvSpPr>
          <p:cNvPr id="25" name="SUHO LIMITED RELEASE…">
            <a:extLst>
              <a:ext uri="{FF2B5EF4-FFF2-40B4-BE49-F238E27FC236}">
                <a16:creationId xmlns:a16="http://schemas.microsoft.com/office/drawing/2014/main" id="{F3192FFB-C2DB-1D41-8580-1D363378BBB0}"/>
              </a:ext>
            </a:extLst>
          </p:cNvPr>
          <p:cNvSpPr txBox="1"/>
          <p:nvPr/>
        </p:nvSpPr>
        <p:spPr>
          <a:xfrm>
            <a:off x="542925" y="141286"/>
            <a:ext cx="1515387" cy="9156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chor="ctr">
            <a:spAutoFit/>
          </a:bodyPr>
          <a:lstStyle/>
          <a:p>
            <a:pPr algn="l">
              <a:lnSpc>
                <a:spcPts val="750"/>
              </a:lnSpc>
              <a:defRPr sz="1500" b="1" cap="all">
                <a:solidFill>
                  <a:srgbClr val="9F9F94"/>
                </a:solidFill>
              </a:defRPr>
            </a:pPr>
            <a:r>
              <a:rPr lang="en-US" sz="500" b="1" spc="50" baseline="0" dirty="0">
                <a:solidFill>
                  <a:schemeClr val="bg1"/>
                </a:solidFill>
                <a:latin typeface="+mn-lt"/>
                <a:ea typeface="Helvetica Neue" panose="02000503000000020004" pitchFamily="2" charset="0"/>
                <a:cs typeface="Arial" panose="020B0604020202020204" pitchFamily="34" charset="0"/>
              </a:rPr>
              <a:t>WESTERN DIGITAL CONFIDENTIAL</a:t>
            </a:r>
          </a:p>
        </p:txBody>
      </p:sp>
      <p:cxnSp>
        <p:nvCxnSpPr>
          <p:cNvPr id="26" name="Straight Connector 25">
            <a:extLst>
              <a:ext uri="{FF2B5EF4-FFF2-40B4-BE49-F238E27FC236}">
                <a16:creationId xmlns:a16="http://schemas.microsoft.com/office/drawing/2014/main" id="{F22331EC-FC6B-4F4F-BE29-26685FED98F4}"/>
              </a:ext>
            </a:extLst>
          </p:cNvPr>
          <p:cNvCxnSpPr/>
          <p:nvPr/>
        </p:nvCxnSpPr>
        <p:spPr>
          <a:xfrm>
            <a:off x="0" y="5514656"/>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D0476808-92D1-1940-A91F-D752A1F7B2B7}"/>
              </a:ext>
            </a:extLst>
          </p:cNvPr>
          <p:cNvSpPr>
            <a:spLocks noGrp="1"/>
          </p:cNvSpPr>
          <p:nvPr>
            <p:ph type="title" hasCustomPrompt="1"/>
          </p:nvPr>
        </p:nvSpPr>
        <p:spPr>
          <a:xfrm>
            <a:off x="274637" y="5611398"/>
            <a:ext cx="11649456" cy="1124712"/>
          </a:xfrm>
        </p:spPr>
        <p:txBody>
          <a:bodyPr>
            <a:noAutofit/>
          </a:bodyPr>
          <a:lstStyle>
            <a:lvl1pPr>
              <a:lnSpc>
                <a:spcPct val="100000"/>
              </a:lnSpc>
              <a:defRPr sz="9600">
                <a:solidFill>
                  <a:schemeClr val="bg1"/>
                </a:solidFill>
              </a:defRPr>
            </a:lvl1pPr>
          </a:lstStyle>
          <a:p>
            <a:pPr lvl="0"/>
            <a:r>
              <a:rPr lang="en-US" dirty="0"/>
              <a:t>01</a:t>
            </a:r>
          </a:p>
        </p:txBody>
      </p:sp>
    </p:spTree>
    <p:extLst>
      <p:ext uri="{BB962C8B-B14F-4D97-AF65-F5344CB8AC3E}">
        <p14:creationId xmlns:p14="http://schemas.microsoft.com/office/powerpoint/2010/main" val="4121497879"/>
      </p:ext>
    </p:extLst>
  </p:cSld>
  <p:clrMapOvr>
    <a:masterClrMapping/>
  </p:clrMapOvr>
  <p:transition>
    <p:fade/>
  </p:transition>
  <p:hf hdr="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Black">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4806619E-0D7A-9542-B876-715BCDBE0FC5}"/>
              </a:ext>
            </a:extLst>
          </p:cNvPr>
          <p:cNvSpPr/>
          <p:nvPr/>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a:extLst>
              <a:ext uri="{FF2B5EF4-FFF2-40B4-BE49-F238E27FC236}">
                <a16:creationId xmlns:a16="http://schemas.microsoft.com/office/drawing/2014/main" id="{1EFF45D2-771B-474E-8CEE-89C9FD1A8BBD}"/>
              </a:ext>
            </a:extLst>
          </p:cNvPr>
          <p:cNvCxnSpPr/>
          <p:nvPr/>
        </p:nvCxnSpPr>
        <p:spPr>
          <a:xfrm>
            <a:off x="0" y="365760"/>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Slide Number Placeholder 5">
            <a:extLst>
              <a:ext uri="{FF2B5EF4-FFF2-40B4-BE49-F238E27FC236}">
                <a16:creationId xmlns:a16="http://schemas.microsoft.com/office/drawing/2014/main" id="{BF769F37-E10D-4443-858A-1F2CDF88CF37}"/>
              </a:ext>
            </a:extLst>
          </p:cNvPr>
          <p:cNvSpPr>
            <a:spLocks noGrp="1"/>
          </p:cNvSpPr>
          <p:nvPr>
            <p:ph type="sldNum" sz="quarter" idx="4"/>
          </p:nvPr>
        </p:nvSpPr>
        <p:spPr>
          <a:xfrm>
            <a:off x="274638" y="133411"/>
            <a:ext cx="211271" cy="120013"/>
          </a:xfrm>
          <a:prstGeom prst="rect">
            <a:avLst/>
          </a:prstGeom>
        </p:spPr>
        <p:txBody>
          <a:bodyPr vert="horz" lIns="0" tIns="0" rIns="0" bIns="0" rtlCol="0" anchor="ctr"/>
          <a:lstStyle>
            <a:lvl1pPr algn="l">
              <a:defRPr sz="500" b="1" i="0" spc="50" baseline="0">
                <a:solidFill>
                  <a:schemeClr val="bg1"/>
                </a:solidFill>
                <a:latin typeface="+mn-lt"/>
                <a:cs typeface="Arial" panose="020B0604020202020204" pitchFamily="34" charset="0"/>
              </a:defRPr>
            </a:lvl1pPr>
          </a:lstStyle>
          <a:p>
            <a:fld id="{4571BA12-316B-0A40-BB3D-1A8CDD33E9E5}" type="slidenum">
              <a:rPr lang="en-US" smtClean="0"/>
              <a:pPr/>
              <a:t>‹#›</a:t>
            </a:fld>
            <a:endParaRPr lang="en-US" dirty="0"/>
          </a:p>
        </p:txBody>
      </p:sp>
      <p:sp>
        <p:nvSpPr>
          <p:cNvPr id="24" name="SUHO LIMITED RELEASE…">
            <a:extLst>
              <a:ext uri="{FF2B5EF4-FFF2-40B4-BE49-F238E27FC236}">
                <a16:creationId xmlns:a16="http://schemas.microsoft.com/office/drawing/2014/main" id="{29242262-316D-ED4F-9264-1A715315B9FE}"/>
              </a:ext>
            </a:extLst>
          </p:cNvPr>
          <p:cNvSpPr txBox="1"/>
          <p:nvPr/>
        </p:nvSpPr>
        <p:spPr>
          <a:xfrm>
            <a:off x="6292066" y="141350"/>
            <a:ext cx="5625296" cy="9150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ctr">
            <a:spAutoFit/>
          </a:bodyPr>
          <a:lstStyle/>
          <a:p>
            <a:pPr algn="r">
              <a:lnSpc>
                <a:spcPts val="750"/>
              </a:lnSpc>
              <a:defRPr sz="1500" b="1" cap="all">
                <a:solidFill>
                  <a:srgbClr val="9F9F94"/>
                </a:solidFill>
              </a:defRPr>
            </a:pPr>
            <a:r>
              <a:rPr lang="en-US" sz="500" b="1" spc="50" baseline="0" dirty="0">
                <a:solidFill>
                  <a:schemeClr val="bg1"/>
                </a:solidFill>
                <a:latin typeface="+mn-lt"/>
                <a:ea typeface="Helvetica Neue" panose="02000503000000020004" pitchFamily="2" charset="0"/>
                <a:cs typeface="Arial" panose="020B0604020202020204" pitchFamily="34" charset="0"/>
              </a:rPr>
              <a:t>© 2022 Western Digital Corporation or its affiliates  All rights reserved</a:t>
            </a:r>
          </a:p>
        </p:txBody>
      </p:sp>
      <p:sp>
        <p:nvSpPr>
          <p:cNvPr id="25" name="SUHO LIMITED RELEASE…">
            <a:extLst>
              <a:ext uri="{FF2B5EF4-FFF2-40B4-BE49-F238E27FC236}">
                <a16:creationId xmlns:a16="http://schemas.microsoft.com/office/drawing/2014/main" id="{F3192FFB-C2DB-1D41-8580-1D363378BBB0}"/>
              </a:ext>
            </a:extLst>
          </p:cNvPr>
          <p:cNvSpPr txBox="1"/>
          <p:nvPr/>
        </p:nvSpPr>
        <p:spPr>
          <a:xfrm>
            <a:off x="542925" y="141286"/>
            <a:ext cx="1515387" cy="9156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ctr">
            <a:spAutoFit/>
          </a:bodyPr>
          <a:lstStyle/>
          <a:p>
            <a:pPr algn="l">
              <a:lnSpc>
                <a:spcPts val="750"/>
              </a:lnSpc>
              <a:defRPr sz="1500" b="1" cap="all">
                <a:solidFill>
                  <a:srgbClr val="9F9F94"/>
                </a:solidFill>
              </a:defRPr>
            </a:pPr>
            <a:r>
              <a:rPr lang="en-US" sz="500" b="1" spc="50" baseline="0" dirty="0">
                <a:solidFill>
                  <a:schemeClr val="bg1"/>
                </a:solidFill>
                <a:latin typeface="+mn-lt"/>
                <a:ea typeface="Helvetica Neue" panose="02000503000000020004" pitchFamily="2" charset="0"/>
                <a:cs typeface="Arial" panose="020B0604020202020204" pitchFamily="34" charset="0"/>
              </a:rPr>
              <a:t>WESTERN DIGITAL CONFIDENTIAL</a:t>
            </a:r>
          </a:p>
        </p:txBody>
      </p:sp>
      <p:cxnSp>
        <p:nvCxnSpPr>
          <p:cNvPr id="26" name="Straight Connector 25">
            <a:extLst>
              <a:ext uri="{FF2B5EF4-FFF2-40B4-BE49-F238E27FC236}">
                <a16:creationId xmlns:a16="http://schemas.microsoft.com/office/drawing/2014/main" id="{F22331EC-FC6B-4F4F-BE29-26685FED98F4}"/>
              </a:ext>
            </a:extLst>
          </p:cNvPr>
          <p:cNvCxnSpPr/>
          <p:nvPr/>
        </p:nvCxnSpPr>
        <p:spPr>
          <a:xfrm>
            <a:off x="0" y="5514656"/>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Text Placeholder 5">
            <a:extLst>
              <a:ext uri="{FF2B5EF4-FFF2-40B4-BE49-F238E27FC236}">
                <a16:creationId xmlns:a16="http://schemas.microsoft.com/office/drawing/2014/main" id="{734C952B-DF25-80E8-8864-EA98486DD03D}"/>
              </a:ext>
            </a:extLst>
          </p:cNvPr>
          <p:cNvSpPr>
            <a:spLocks noGrp="1"/>
          </p:cNvSpPr>
          <p:nvPr>
            <p:ph type="body" sz="quarter" idx="11" hasCustomPrompt="1"/>
          </p:nvPr>
        </p:nvSpPr>
        <p:spPr>
          <a:xfrm>
            <a:off x="274637" y="394710"/>
            <a:ext cx="5782547" cy="5039055"/>
          </a:xfrm>
        </p:spPr>
        <p:txBody>
          <a:bodyPr lIns="0" tIns="0" rIns="0" bIns="0" anchor="b">
            <a:noAutofit/>
          </a:bodyPr>
          <a:lstStyle>
            <a:lvl1pPr marL="0" indent="0">
              <a:lnSpc>
                <a:spcPts val="7000"/>
              </a:lnSpc>
              <a:spcBef>
                <a:spcPts val="0"/>
              </a:spcBef>
              <a:spcAft>
                <a:spcPts val="0"/>
              </a:spcAft>
              <a:buNone/>
              <a:defRPr sz="8000" b="1" spc="0" baseline="0">
                <a:solidFill>
                  <a:schemeClr val="bg1"/>
                </a:solidFill>
              </a:defRPr>
            </a:lvl1pPr>
            <a:lvl2pPr marL="457109" indent="0">
              <a:buNone/>
              <a:defRPr sz="44500"/>
            </a:lvl2pPr>
            <a:lvl3pPr marL="914217" indent="0">
              <a:buNone/>
              <a:defRPr sz="44500"/>
            </a:lvl3pPr>
            <a:lvl4pPr marL="1371326" indent="0">
              <a:buNone/>
              <a:defRPr sz="44500"/>
            </a:lvl4pPr>
            <a:lvl5pPr marL="1828435" indent="0">
              <a:buNone/>
              <a:defRPr sz="44500"/>
            </a:lvl5pPr>
          </a:lstStyle>
          <a:p>
            <a:pPr lvl="0"/>
            <a:r>
              <a:rPr lang="en-US" dirty="0"/>
              <a:t>Click to Add Section Title</a:t>
            </a:r>
          </a:p>
        </p:txBody>
      </p:sp>
      <p:sp>
        <p:nvSpPr>
          <p:cNvPr id="11" name="Title 1">
            <a:extLst>
              <a:ext uri="{FF2B5EF4-FFF2-40B4-BE49-F238E27FC236}">
                <a16:creationId xmlns:a16="http://schemas.microsoft.com/office/drawing/2014/main" id="{8B392BDC-88EF-C5D3-B717-A18700ABF243}"/>
              </a:ext>
            </a:extLst>
          </p:cNvPr>
          <p:cNvSpPr>
            <a:spLocks noGrp="1"/>
          </p:cNvSpPr>
          <p:nvPr>
            <p:ph type="title" hasCustomPrompt="1"/>
          </p:nvPr>
        </p:nvSpPr>
        <p:spPr>
          <a:xfrm>
            <a:off x="274637" y="5611398"/>
            <a:ext cx="11649456" cy="1124712"/>
          </a:xfrm>
        </p:spPr>
        <p:txBody>
          <a:bodyPr>
            <a:noAutofit/>
          </a:bodyPr>
          <a:lstStyle>
            <a:lvl1pPr>
              <a:lnSpc>
                <a:spcPct val="100000"/>
              </a:lnSpc>
              <a:defRPr sz="9600">
                <a:solidFill>
                  <a:schemeClr val="bg1"/>
                </a:solidFill>
              </a:defRPr>
            </a:lvl1pPr>
          </a:lstStyle>
          <a:p>
            <a:pPr lvl="0"/>
            <a:r>
              <a:rPr lang="en-US" dirty="0"/>
              <a:t>01</a:t>
            </a:r>
          </a:p>
        </p:txBody>
      </p:sp>
    </p:spTree>
    <p:extLst>
      <p:ext uri="{BB962C8B-B14F-4D97-AF65-F5344CB8AC3E}">
        <p14:creationId xmlns:p14="http://schemas.microsoft.com/office/powerpoint/2010/main" val="2073221745"/>
      </p:ext>
    </p:extLst>
  </p:cSld>
  <p:clrMapOvr>
    <a:masterClrMapping/>
  </p:clrMapOvr>
  <p:transition>
    <p:fade/>
  </p:transition>
  <p:hf hdr="0"/>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ection Header Purple">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4806619E-0D7A-9542-B876-715BCDBE0FC5}"/>
              </a:ext>
            </a:extLst>
          </p:cNvPr>
          <p:cNvSpPr/>
          <p:nvPr/>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a:extLst>
              <a:ext uri="{FF2B5EF4-FFF2-40B4-BE49-F238E27FC236}">
                <a16:creationId xmlns:a16="http://schemas.microsoft.com/office/drawing/2014/main" id="{1EFF45D2-771B-474E-8CEE-89C9FD1A8BBD}"/>
              </a:ext>
            </a:extLst>
          </p:cNvPr>
          <p:cNvCxnSpPr/>
          <p:nvPr/>
        </p:nvCxnSpPr>
        <p:spPr>
          <a:xfrm>
            <a:off x="0" y="365760"/>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Slide Number Placeholder 5">
            <a:extLst>
              <a:ext uri="{FF2B5EF4-FFF2-40B4-BE49-F238E27FC236}">
                <a16:creationId xmlns:a16="http://schemas.microsoft.com/office/drawing/2014/main" id="{BF769F37-E10D-4443-858A-1F2CDF88CF37}"/>
              </a:ext>
            </a:extLst>
          </p:cNvPr>
          <p:cNvSpPr>
            <a:spLocks noGrp="1"/>
          </p:cNvSpPr>
          <p:nvPr>
            <p:ph type="sldNum" sz="quarter" idx="4"/>
          </p:nvPr>
        </p:nvSpPr>
        <p:spPr>
          <a:xfrm>
            <a:off x="274638" y="133411"/>
            <a:ext cx="211271" cy="120013"/>
          </a:xfrm>
          <a:prstGeom prst="rect">
            <a:avLst/>
          </a:prstGeom>
        </p:spPr>
        <p:txBody>
          <a:bodyPr vert="horz" lIns="0" tIns="0" rIns="0" bIns="0" rtlCol="0" anchor="ctr"/>
          <a:lstStyle>
            <a:lvl1pPr algn="l">
              <a:defRPr sz="500" b="1" i="0" spc="50" baseline="0">
                <a:solidFill>
                  <a:schemeClr val="bg1"/>
                </a:solidFill>
                <a:latin typeface="+mn-lt"/>
                <a:cs typeface="Arial" panose="020B0604020202020204" pitchFamily="34" charset="0"/>
              </a:defRPr>
            </a:lvl1pPr>
          </a:lstStyle>
          <a:p>
            <a:fld id="{4571BA12-316B-0A40-BB3D-1A8CDD33E9E5}" type="slidenum">
              <a:rPr lang="en-US" smtClean="0"/>
              <a:pPr/>
              <a:t>‹#›</a:t>
            </a:fld>
            <a:endParaRPr lang="en-US" dirty="0"/>
          </a:p>
        </p:txBody>
      </p:sp>
      <p:sp>
        <p:nvSpPr>
          <p:cNvPr id="24" name="SUHO LIMITED RELEASE…">
            <a:extLst>
              <a:ext uri="{FF2B5EF4-FFF2-40B4-BE49-F238E27FC236}">
                <a16:creationId xmlns:a16="http://schemas.microsoft.com/office/drawing/2014/main" id="{29242262-316D-ED4F-9264-1A715315B9FE}"/>
              </a:ext>
            </a:extLst>
          </p:cNvPr>
          <p:cNvSpPr txBox="1"/>
          <p:nvPr/>
        </p:nvSpPr>
        <p:spPr>
          <a:xfrm>
            <a:off x="6292066" y="141350"/>
            <a:ext cx="5625296" cy="9150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ctr">
            <a:spAutoFit/>
          </a:bodyPr>
          <a:lstStyle/>
          <a:p>
            <a:pPr algn="r">
              <a:lnSpc>
                <a:spcPts val="750"/>
              </a:lnSpc>
              <a:defRPr sz="1500" b="1" cap="all">
                <a:solidFill>
                  <a:srgbClr val="9F9F94"/>
                </a:solidFill>
              </a:defRPr>
            </a:pPr>
            <a:r>
              <a:rPr lang="en-US" sz="500" b="1" spc="50" baseline="0" dirty="0">
                <a:solidFill>
                  <a:schemeClr val="bg1"/>
                </a:solidFill>
                <a:latin typeface="+mn-lt"/>
                <a:ea typeface="Helvetica Neue" panose="02000503000000020004" pitchFamily="2" charset="0"/>
                <a:cs typeface="Arial" panose="020B0604020202020204" pitchFamily="34" charset="0"/>
              </a:rPr>
              <a:t>© 2022 Western Digital Corporation or its affiliates  All rights reserved</a:t>
            </a:r>
          </a:p>
        </p:txBody>
      </p:sp>
      <p:sp>
        <p:nvSpPr>
          <p:cNvPr id="25" name="SUHO LIMITED RELEASE…">
            <a:extLst>
              <a:ext uri="{FF2B5EF4-FFF2-40B4-BE49-F238E27FC236}">
                <a16:creationId xmlns:a16="http://schemas.microsoft.com/office/drawing/2014/main" id="{F3192FFB-C2DB-1D41-8580-1D363378BBB0}"/>
              </a:ext>
            </a:extLst>
          </p:cNvPr>
          <p:cNvSpPr txBox="1"/>
          <p:nvPr/>
        </p:nvSpPr>
        <p:spPr>
          <a:xfrm>
            <a:off x="542925" y="141286"/>
            <a:ext cx="1515387" cy="9156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ctr">
            <a:spAutoFit/>
          </a:bodyPr>
          <a:lstStyle/>
          <a:p>
            <a:pPr algn="l">
              <a:lnSpc>
                <a:spcPts val="750"/>
              </a:lnSpc>
              <a:defRPr sz="1500" b="1" cap="all">
                <a:solidFill>
                  <a:srgbClr val="9F9F94"/>
                </a:solidFill>
              </a:defRPr>
            </a:pPr>
            <a:r>
              <a:rPr lang="en-US" sz="500" b="1" spc="50" baseline="0" dirty="0">
                <a:solidFill>
                  <a:schemeClr val="bg1"/>
                </a:solidFill>
                <a:latin typeface="+mn-lt"/>
                <a:ea typeface="Helvetica Neue" panose="02000503000000020004" pitchFamily="2" charset="0"/>
                <a:cs typeface="Arial" panose="020B0604020202020204" pitchFamily="34" charset="0"/>
              </a:rPr>
              <a:t>WESTERN DIGITAL CONFIDENTIAL</a:t>
            </a:r>
          </a:p>
        </p:txBody>
      </p:sp>
      <p:cxnSp>
        <p:nvCxnSpPr>
          <p:cNvPr id="26" name="Straight Connector 25">
            <a:extLst>
              <a:ext uri="{FF2B5EF4-FFF2-40B4-BE49-F238E27FC236}">
                <a16:creationId xmlns:a16="http://schemas.microsoft.com/office/drawing/2014/main" id="{F22331EC-FC6B-4F4F-BE29-26685FED98F4}"/>
              </a:ext>
            </a:extLst>
          </p:cNvPr>
          <p:cNvCxnSpPr/>
          <p:nvPr/>
        </p:nvCxnSpPr>
        <p:spPr>
          <a:xfrm>
            <a:off x="0" y="5514656"/>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Text Placeholder 5">
            <a:extLst>
              <a:ext uri="{FF2B5EF4-FFF2-40B4-BE49-F238E27FC236}">
                <a16:creationId xmlns:a16="http://schemas.microsoft.com/office/drawing/2014/main" id="{49090544-0C57-C995-6574-F2D46C620F6A}"/>
              </a:ext>
            </a:extLst>
          </p:cNvPr>
          <p:cNvSpPr>
            <a:spLocks noGrp="1"/>
          </p:cNvSpPr>
          <p:nvPr>
            <p:ph type="body" sz="quarter" idx="11" hasCustomPrompt="1"/>
          </p:nvPr>
        </p:nvSpPr>
        <p:spPr>
          <a:xfrm>
            <a:off x="274637" y="394710"/>
            <a:ext cx="5782547" cy="5039055"/>
          </a:xfrm>
        </p:spPr>
        <p:txBody>
          <a:bodyPr lIns="0" tIns="0" rIns="0" bIns="0" anchor="b">
            <a:noAutofit/>
          </a:bodyPr>
          <a:lstStyle>
            <a:lvl1pPr marL="0" indent="0">
              <a:lnSpc>
                <a:spcPts val="7000"/>
              </a:lnSpc>
              <a:spcBef>
                <a:spcPts val="0"/>
              </a:spcBef>
              <a:spcAft>
                <a:spcPts val="0"/>
              </a:spcAft>
              <a:buNone/>
              <a:defRPr sz="8000" b="1" spc="0" baseline="0">
                <a:solidFill>
                  <a:schemeClr val="bg1"/>
                </a:solidFill>
              </a:defRPr>
            </a:lvl1pPr>
            <a:lvl2pPr marL="457109" indent="0">
              <a:buNone/>
              <a:defRPr sz="44500"/>
            </a:lvl2pPr>
            <a:lvl3pPr marL="914217" indent="0">
              <a:buNone/>
              <a:defRPr sz="44500"/>
            </a:lvl3pPr>
            <a:lvl4pPr marL="1371326" indent="0">
              <a:buNone/>
              <a:defRPr sz="44500"/>
            </a:lvl4pPr>
            <a:lvl5pPr marL="1828435" indent="0">
              <a:buNone/>
              <a:defRPr sz="44500"/>
            </a:lvl5pPr>
          </a:lstStyle>
          <a:p>
            <a:pPr lvl="0"/>
            <a:r>
              <a:rPr lang="en-US" dirty="0"/>
              <a:t>Click to Add Section Title</a:t>
            </a:r>
          </a:p>
        </p:txBody>
      </p:sp>
      <p:sp>
        <p:nvSpPr>
          <p:cNvPr id="11" name="Title 1">
            <a:extLst>
              <a:ext uri="{FF2B5EF4-FFF2-40B4-BE49-F238E27FC236}">
                <a16:creationId xmlns:a16="http://schemas.microsoft.com/office/drawing/2014/main" id="{30A92807-7296-269D-9680-9D7384354927}"/>
              </a:ext>
            </a:extLst>
          </p:cNvPr>
          <p:cNvSpPr>
            <a:spLocks noGrp="1"/>
          </p:cNvSpPr>
          <p:nvPr>
            <p:ph type="title" hasCustomPrompt="1"/>
          </p:nvPr>
        </p:nvSpPr>
        <p:spPr>
          <a:xfrm>
            <a:off x="274637" y="5611398"/>
            <a:ext cx="11649456" cy="1124712"/>
          </a:xfrm>
        </p:spPr>
        <p:txBody>
          <a:bodyPr>
            <a:noAutofit/>
          </a:bodyPr>
          <a:lstStyle>
            <a:lvl1pPr>
              <a:lnSpc>
                <a:spcPct val="100000"/>
              </a:lnSpc>
              <a:defRPr sz="9600">
                <a:solidFill>
                  <a:schemeClr val="bg1"/>
                </a:solidFill>
              </a:defRPr>
            </a:lvl1pPr>
          </a:lstStyle>
          <a:p>
            <a:pPr lvl="0"/>
            <a:r>
              <a:rPr lang="en-US" dirty="0"/>
              <a:t>01</a:t>
            </a:r>
          </a:p>
        </p:txBody>
      </p:sp>
    </p:spTree>
    <p:extLst>
      <p:ext uri="{BB962C8B-B14F-4D97-AF65-F5344CB8AC3E}">
        <p14:creationId xmlns:p14="http://schemas.microsoft.com/office/powerpoint/2010/main" val="1790040951"/>
      </p:ext>
    </p:extLst>
  </p:cSld>
  <p:clrMapOvr>
    <a:masterClrMapping/>
  </p:clrMapOvr>
  <p:transition>
    <p:fade/>
  </p:transition>
  <p:hf hdr="0"/>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ection Header Red">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4806619E-0D7A-9542-B876-715BCDBE0FC5}"/>
              </a:ext>
            </a:extLst>
          </p:cNvPr>
          <p:cNvSpPr/>
          <p:nvPr/>
        </p:nvSpPr>
        <p:spPr>
          <a:xfrm>
            <a:off x="0" y="0"/>
            <a:ext cx="12192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a:extLst>
              <a:ext uri="{FF2B5EF4-FFF2-40B4-BE49-F238E27FC236}">
                <a16:creationId xmlns:a16="http://schemas.microsoft.com/office/drawing/2014/main" id="{1EFF45D2-771B-474E-8CEE-89C9FD1A8BBD}"/>
              </a:ext>
            </a:extLst>
          </p:cNvPr>
          <p:cNvCxnSpPr/>
          <p:nvPr/>
        </p:nvCxnSpPr>
        <p:spPr>
          <a:xfrm>
            <a:off x="0" y="365760"/>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Slide Number Placeholder 5">
            <a:extLst>
              <a:ext uri="{FF2B5EF4-FFF2-40B4-BE49-F238E27FC236}">
                <a16:creationId xmlns:a16="http://schemas.microsoft.com/office/drawing/2014/main" id="{BF769F37-E10D-4443-858A-1F2CDF88CF37}"/>
              </a:ext>
            </a:extLst>
          </p:cNvPr>
          <p:cNvSpPr>
            <a:spLocks noGrp="1"/>
          </p:cNvSpPr>
          <p:nvPr>
            <p:ph type="sldNum" sz="quarter" idx="4"/>
          </p:nvPr>
        </p:nvSpPr>
        <p:spPr>
          <a:xfrm>
            <a:off x="274638" y="133411"/>
            <a:ext cx="211271" cy="120013"/>
          </a:xfrm>
          <a:prstGeom prst="rect">
            <a:avLst/>
          </a:prstGeom>
        </p:spPr>
        <p:txBody>
          <a:bodyPr vert="horz" lIns="0" tIns="0" rIns="0" bIns="0" rtlCol="0" anchor="ctr"/>
          <a:lstStyle>
            <a:lvl1pPr algn="l">
              <a:defRPr sz="500" b="1" i="0" spc="50" baseline="0">
                <a:solidFill>
                  <a:schemeClr val="bg1"/>
                </a:solidFill>
                <a:latin typeface="+mn-lt"/>
                <a:cs typeface="Arial" panose="020B0604020202020204" pitchFamily="34" charset="0"/>
              </a:defRPr>
            </a:lvl1pPr>
          </a:lstStyle>
          <a:p>
            <a:fld id="{4571BA12-316B-0A40-BB3D-1A8CDD33E9E5}" type="slidenum">
              <a:rPr lang="en-US" smtClean="0"/>
              <a:pPr/>
              <a:t>‹#›</a:t>
            </a:fld>
            <a:endParaRPr lang="en-US" dirty="0"/>
          </a:p>
        </p:txBody>
      </p:sp>
      <p:sp>
        <p:nvSpPr>
          <p:cNvPr id="24" name="SUHO LIMITED RELEASE…">
            <a:extLst>
              <a:ext uri="{FF2B5EF4-FFF2-40B4-BE49-F238E27FC236}">
                <a16:creationId xmlns:a16="http://schemas.microsoft.com/office/drawing/2014/main" id="{29242262-316D-ED4F-9264-1A715315B9FE}"/>
              </a:ext>
            </a:extLst>
          </p:cNvPr>
          <p:cNvSpPr txBox="1"/>
          <p:nvPr/>
        </p:nvSpPr>
        <p:spPr>
          <a:xfrm>
            <a:off x="6292066" y="141350"/>
            <a:ext cx="5625296" cy="9150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ctr">
            <a:spAutoFit/>
          </a:bodyPr>
          <a:lstStyle/>
          <a:p>
            <a:pPr algn="r">
              <a:lnSpc>
                <a:spcPts val="750"/>
              </a:lnSpc>
              <a:defRPr sz="1500" b="1" cap="all">
                <a:solidFill>
                  <a:srgbClr val="9F9F94"/>
                </a:solidFill>
              </a:defRPr>
            </a:pPr>
            <a:r>
              <a:rPr lang="en-US" sz="500" b="1" spc="50" baseline="0" dirty="0">
                <a:solidFill>
                  <a:schemeClr val="bg1"/>
                </a:solidFill>
                <a:latin typeface="+mn-lt"/>
                <a:ea typeface="Helvetica Neue" panose="02000503000000020004" pitchFamily="2" charset="0"/>
                <a:cs typeface="Arial" panose="020B0604020202020204" pitchFamily="34" charset="0"/>
              </a:rPr>
              <a:t>© 2022 Western Digital Corporation or its affiliates  All rights reserved</a:t>
            </a:r>
          </a:p>
        </p:txBody>
      </p:sp>
      <p:sp>
        <p:nvSpPr>
          <p:cNvPr id="25" name="SUHO LIMITED RELEASE…">
            <a:extLst>
              <a:ext uri="{FF2B5EF4-FFF2-40B4-BE49-F238E27FC236}">
                <a16:creationId xmlns:a16="http://schemas.microsoft.com/office/drawing/2014/main" id="{F3192FFB-C2DB-1D41-8580-1D363378BBB0}"/>
              </a:ext>
            </a:extLst>
          </p:cNvPr>
          <p:cNvSpPr txBox="1"/>
          <p:nvPr/>
        </p:nvSpPr>
        <p:spPr>
          <a:xfrm>
            <a:off x="542925" y="141286"/>
            <a:ext cx="1515387" cy="9156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ctr">
            <a:spAutoFit/>
          </a:bodyPr>
          <a:lstStyle/>
          <a:p>
            <a:pPr algn="l">
              <a:lnSpc>
                <a:spcPts val="750"/>
              </a:lnSpc>
              <a:defRPr sz="1500" b="1" cap="all">
                <a:solidFill>
                  <a:srgbClr val="9F9F94"/>
                </a:solidFill>
              </a:defRPr>
            </a:pPr>
            <a:r>
              <a:rPr lang="en-US" sz="500" b="1" spc="50" baseline="0" dirty="0">
                <a:solidFill>
                  <a:schemeClr val="bg1"/>
                </a:solidFill>
                <a:latin typeface="+mn-lt"/>
                <a:ea typeface="Helvetica Neue" panose="02000503000000020004" pitchFamily="2" charset="0"/>
                <a:cs typeface="Arial" panose="020B0604020202020204" pitchFamily="34" charset="0"/>
              </a:rPr>
              <a:t>WESTERN DIGITAL CONFIDENTIAL</a:t>
            </a:r>
          </a:p>
        </p:txBody>
      </p:sp>
      <p:cxnSp>
        <p:nvCxnSpPr>
          <p:cNvPr id="26" name="Straight Connector 25">
            <a:extLst>
              <a:ext uri="{FF2B5EF4-FFF2-40B4-BE49-F238E27FC236}">
                <a16:creationId xmlns:a16="http://schemas.microsoft.com/office/drawing/2014/main" id="{F22331EC-FC6B-4F4F-BE29-26685FED98F4}"/>
              </a:ext>
            </a:extLst>
          </p:cNvPr>
          <p:cNvCxnSpPr/>
          <p:nvPr/>
        </p:nvCxnSpPr>
        <p:spPr>
          <a:xfrm>
            <a:off x="0" y="5514656"/>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Text Placeholder 5">
            <a:extLst>
              <a:ext uri="{FF2B5EF4-FFF2-40B4-BE49-F238E27FC236}">
                <a16:creationId xmlns:a16="http://schemas.microsoft.com/office/drawing/2014/main" id="{C434B961-224E-7308-BE32-AD720EC57CCC}"/>
              </a:ext>
            </a:extLst>
          </p:cNvPr>
          <p:cNvSpPr>
            <a:spLocks noGrp="1"/>
          </p:cNvSpPr>
          <p:nvPr>
            <p:ph type="body" sz="quarter" idx="11" hasCustomPrompt="1"/>
          </p:nvPr>
        </p:nvSpPr>
        <p:spPr>
          <a:xfrm>
            <a:off x="274637" y="394710"/>
            <a:ext cx="5782547" cy="5039055"/>
          </a:xfrm>
        </p:spPr>
        <p:txBody>
          <a:bodyPr lIns="0" tIns="0" rIns="0" bIns="0" anchor="b">
            <a:noAutofit/>
          </a:bodyPr>
          <a:lstStyle>
            <a:lvl1pPr marL="0" indent="0">
              <a:lnSpc>
                <a:spcPts val="7000"/>
              </a:lnSpc>
              <a:spcBef>
                <a:spcPts val="0"/>
              </a:spcBef>
              <a:spcAft>
                <a:spcPts val="0"/>
              </a:spcAft>
              <a:buNone/>
              <a:defRPr sz="8000" b="1" spc="0" baseline="0">
                <a:solidFill>
                  <a:schemeClr val="bg1"/>
                </a:solidFill>
              </a:defRPr>
            </a:lvl1pPr>
            <a:lvl2pPr marL="457109" indent="0">
              <a:buNone/>
              <a:defRPr sz="44500"/>
            </a:lvl2pPr>
            <a:lvl3pPr marL="914217" indent="0">
              <a:buNone/>
              <a:defRPr sz="44500"/>
            </a:lvl3pPr>
            <a:lvl4pPr marL="1371326" indent="0">
              <a:buNone/>
              <a:defRPr sz="44500"/>
            </a:lvl4pPr>
            <a:lvl5pPr marL="1828435" indent="0">
              <a:buNone/>
              <a:defRPr sz="44500"/>
            </a:lvl5pPr>
          </a:lstStyle>
          <a:p>
            <a:pPr lvl="0"/>
            <a:r>
              <a:rPr lang="en-US" dirty="0"/>
              <a:t>Click to Add Section Title</a:t>
            </a:r>
          </a:p>
        </p:txBody>
      </p:sp>
      <p:sp>
        <p:nvSpPr>
          <p:cNvPr id="11" name="Title 1">
            <a:extLst>
              <a:ext uri="{FF2B5EF4-FFF2-40B4-BE49-F238E27FC236}">
                <a16:creationId xmlns:a16="http://schemas.microsoft.com/office/drawing/2014/main" id="{2566DE62-D29D-B6ED-EE6C-F181479312A0}"/>
              </a:ext>
            </a:extLst>
          </p:cNvPr>
          <p:cNvSpPr>
            <a:spLocks noGrp="1"/>
          </p:cNvSpPr>
          <p:nvPr>
            <p:ph type="title" hasCustomPrompt="1"/>
          </p:nvPr>
        </p:nvSpPr>
        <p:spPr>
          <a:xfrm>
            <a:off x="274637" y="5611398"/>
            <a:ext cx="11649456" cy="1124712"/>
          </a:xfrm>
        </p:spPr>
        <p:txBody>
          <a:bodyPr>
            <a:noAutofit/>
          </a:bodyPr>
          <a:lstStyle>
            <a:lvl1pPr>
              <a:lnSpc>
                <a:spcPct val="100000"/>
              </a:lnSpc>
              <a:defRPr sz="9600">
                <a:solidFill>
                  <a:schemeClr val="bg1"/>
                </a:solidFill>
              </a:defRPr>
            </a:lvl1pPr>
          </a:lstStyle>
          <a:p>
            <a:pPr lvl="0"/>
            <a:r>
              <a:rPr lang="en-US" dirty="0"/>
              <a:t>01</a:t>
            </a:r>
          </a:p>
        </p:txBody>
      </p:sp>
    </p:spTree>
    <p:extLst>
      <p:ext uri="{BB962C8B-B14F-4D97-AF65-F5344CB8AC3E}">
        <p14:creationId xmlns:p14="http://schemas.microsoft.com/office/powerpoint/2010/main" val="363632684"/>
      </p:ext>
    </p:extLst>
  </p:cSld>
  <p:clrMapOvr>
    <a:masterClrMapping/>
  </p:clrMapOvr>
  <p:transition>
    <p:fade/>
  </p:transition>
  <p:hf hdr="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Section Header Gradient">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4806619E-0D7A-9542-B876-715BCDBE0FC5}"/>
              </a:ext>
            </a:extLst>
          </p:cNvPr>
          <p:cNvSpPr/>
          <p:nvPr userDrawn="1"/>
        </p:nvSpPr>
        <p:spPr>
          <a:xfrm>
            <a:off x="0" y="0"/>
            <a:ext cx="12192000" cy="6858000"/>
          </a:xfrm>
          <a:prstGeom prst="rect">
            <a:avLst/>
          </a:prstGeom>
          <a:gradFill>
            <a:gsLst>
              <a:gs pos="0">
                <a:schemeClr val="accent1"/>
              </a:gs>
              <a:gs pos="50000">
                <a:schemeClr val="accent2"/>
              </a:gs>
              <a:gs pos="100000">
                <a:schemeClr val="accent3"/>
              </a:gs>
            </a:gsLst>
            <a:lin ang="81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a:extLst>
              <a:ext uri="{FF2B5EF4-FFF2-40B4-BE49-F238E27FC236}">
                <a16:creationId xmlns:a16="http://schemas.microsoft.com/office/drawing/2014/main" id="{1EFF45D2-771B-474E-8CEE-89C9FD1A8BBD}"/>
              </a:ext>
            </a:extLst>
          </p:cNvPr>
          <p:cNvCxnSpPr/>
          <p:nvPr/>
        </p:nvCxnSpPr>
        <p:spPr>
          <a:xfrm>
            <a:off x="0" y="365760"/>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Slide Number Placeholder 5">
            <a:extLst>
              <a:ext uri="{FF2B5EF4-FFF2-40B4-BE49-F238E27FC236}">
                <a16:creationId xmlns:a16="http://schemas.microsoft.com/office/drawing/2014/main" id="{BF769F37-E10D-4443-858A-1F2CDF88CF37}"/>
              </a:ext>
            </a:extLst>
          </p:cNvPr>
          <p:cNvSpPr>
            <a:spLocks noGrp="1"/>
          </p:cNvSpPr>
          <p:nvPr>
            <p:ph type="sldNum" sz="quarter" idx="4"/>
          </p:nvPr>
        </p:nvSpPr>
        <p:spPr>
          <a:xfrm>
            <a:off x="274638" y="133411"/>
            <a:ext cx="211271" cy="120013"/>
          </a:xfrm>
          <a:prstGeom prst="rect">
            <a:avLst/>
          </a:prstGeom>
        </p:spPr>
        <p:txBody>
          <a:bodyPr vert="horz" lIns="0" tIns="0" rIns="0" bIns="0" rtlCol="0" anchor="ctr"/>
          <a:lstStyle>
            <a:lvl1pPr algn="l">
              <a:defRPr sz="500" b="1" i="0" spc="50" baseline="0">
                <a:solidFill>
                  <a:schemeClr val="bg1"/>
                </a:solidFill>
                <a:latin typeface="+mn-lt"/>
                <a:cs typeface="Arial" panose="020B0604020202020204" pitchFamily="34" charset="0"/>
              </a:defRPr>
            </a:lvl1pPr>
          </a:lstStyle>
          <a:p>
            <a:fld id="{4571BA12-316B-0A40-BB3D-1A8CDD33E9E5}" type="slidenum">
              <a:rPr lang="en-US" smtClean="0"/>
              <a:pPr/>
              <a:t>‹#›</a:t>
            </a:fld>
            <a:endParaRPr lang="en-US" dirty="0"/>
          </a:p>
        </p:txBody>
      </p:sp>
      <p:sp>
        <p:nvSpPr>
          <p:cNvPr id="24" name="SUHO LIMITED RELEASE…">
            <a:extLst>
              <a:ext uri="{FF2B5EF4-FFF2-40B4-BE49-F238E27FC236}">
                <a16:creationId xmlns:a16="http://schemas.microsoft.com/office/drawing/2014/main" id="{29242262-316D-ED4F-9264-1A715315B9FE}"/>
              </a:ext>
            </a:extLst>
          </p:cNvPr>
          <p:cNvSpPr txBox="1"/>
          <p:nvPr/>
        </p:nvSpPr>
        <p:spPr>
          <a:xfrm>
            <a:off x="6292066" y="141350"/>
            <a:ext cx="5625296" cy="9150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ctr">
            <a:spAutoFit/>
          </a:bodyPr>
          <a:lstStyle/>
          <a:p>
            <a:pPr algn="r">
              <a:lnSpc>
                <a:spcPts val="750"/>
              </a:lnSpc>
              <a:defRPr sz="1500" b="1" cap="all">
                <a:solidFill>
                  <a:srgbClr val="9F9F94"/>
                </a:solidFill>
              </a:defRPr>
            </a:pPr>
            <a:r>
              <a:rPr lang="en-US" sz="500" b="1" spc="50" baseline="0" dirty="0">
                <a:solidFill>
                  <a:schemeClr val="bg1"/>
                </a:solidFill>
                <a:latin typeface="+mn-lt"/>
                <a:ea typeface="Helvetica Neue" panose="02000503000000020004" pitchFamily="2" charset="0"/>
                <a:cs typeface="Arial" panose="020B0604020202020204" pitchFamily="34" charset="0"/>
              </a:rPr>
              <a:t>© 2022 Western Digital Corporation or its affiliates  All rights reserved</a:t>
            </a:r>
          </a:p>
        </p:txBody>
      </p:sp>
      <p:sp>
        <p:nvSpPr>
          <p:cNvPr id="25" name="SUHO LIMITED RELEASE…">
            <a:extLst>
              <a:ext uri="{FF2B5EF4-FFF2-40B4-BE49-F238E27FC236}">
                <a16:creationId xmlns:a16="http://schemas.microsoft.com/office/drawing/2014/main" id="{F3192FFB-C2DB-1D41-8580-1D363378BBB0}"/>
              </a:ext>
            </a:extLst>
          </p:cNvPr>
          <p:cNvSpPr txBox="1"/>
          <p:nvPr/>
        </p:nvSpPr>
        <p:spPr>
          <a:xfrm>
            <a:off x="542925" y="141286"/>
            <a:ext cx="1515387" cy="9156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ctr">
            <a:spAutoFit/>
          </a:bodyPr>
          <a:lstStyle/>
          <a:p>
            <a:pPr algn="l">
              <a:lnSpc>
                <a:spcPts val="750"/>
              </a:lnSpc>
              <a:defRPr sz="1500" b="1" cap="all">
                <a:solidFill>
                  <a:srgbClr val="9F9F94"/>
                </a:solidFill>
              </a:defRPr>
            </a:pPr>
            <a:r>
              <a:rPr lang="en-US" sz="500" b="1" spc="50" baseline="0" dirty="0">
                <a:solidFill>
                  <a:schemeClr val="bg1"/>
                </a:solidFill>
                <a:latin typeface="+mn-lt"/>
                <a:ea typeface="Helvetica Neue" panose="02000503000000020004" pitchFamily="2" charset="0"/>
                <a:cs typeface="Arial" panose="020B0604020202020204" pitchFamily="34" charset="0"/>
              </a:rPr>
              <a:t>WESTERN DIGITAL CONFIDENTIAL</a:t>
            </a:r>
          </a:p>
        </p:txBody>
      </p:sp>
      <p:cxnSp>
        <p:nvCxnSpPr>
          <p:cNvPr id="26" name="Straight Connector 25">
            <a:extLst>
              <a:ext uri="{FF2B5EF4-FFF2-40B4-BE49-F238E27FC236}">
                <a16:creationId xmlns:a16="http://schemas.microsoft.com/office/drawing/2014/main" id="{F22331EC-FC6B-4F4F-BE29-26685FED98F4}"/>
              </a:ext>
            </a:extLst>
          </p:cNvPr>
          <p:cNvCxnSpPr/>
          <p:nvPr/>
        </p:nvCxnSpPr>
        <p:spPr>
          <a:xfrm>
            <a:off x="0" y="5514656"/>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Text Placeholder 5">
            <a:extLst>
              <a:ext uri="{FF2B5EF4-FFF2-40B4-BE49-F238E27FC236}">
                <a16:creationId xmlns:a16="http://schemas.microsoft.com/office/drawing/2014/main" id="{560C62FA-28C9-435B-3866-2A7E57764365}"/>
              </a:ext>
            </a:extLst>
          </p:cNvPr>
          <p:cNvSpPr>
            <a:spLocks noGrp="1"/>
          </p:cNvSpPr>
          <p:nvPr>
            <p:ph type="body" sz="quarter" idx="11" hasCustomPrompt="1"/>
          </p:nvPr>
        </p:nvSpPr>
        <p:spPr>
          <a:xfrm>
            <a:off x="274637" y="394710"/>
            <a:ext cx="5782547" cy="5039055"/>
          </a:xfrm>
        </p:spPr>
        <p:txBody>
          <a:bodyPr lIns="0" tIns="0" rIns="0" bIns="0" anchor="b">
            <a:noAutofit/>
          </a:bodyPr>
          <a:lstStyle>
            <a:lvl1pPr marL="0" indent="0">
              <a:lnSpc>
                <a:spcPts val="7000"/>
              </a:lnSpc>
              <a:spcBef>
                <a:spcPts val="0"/>
              </a:spcBef>
              <a:spcAft>
                <a:spcPts val="0"/>
              </a:spcAft>
              <a:buNone/>
              <a:defRPr sz="8000" b="1" spc="0" baseline="0">
                <a:solidFill>
                  <a:schemeClr val="bg1"/>
                </a:solidFill>
              </a:defRPr>
            </a:lvl1pPr>
            <a:lvl2pPr marL="457109" indent="0">
              <a:buNone/>
              <a:defRPr sz="44500"/>
            </a:lvl2pPr>
            <a:lvl3pPr marL="914217" indent="0">
              <a:buNone/>
              <a:defRPr sz="44500"/>
            </a:lvl3pPr>
            <a:lvl4pPr marL="1371326" indent="0">
              <a:buNone/>
              <a:defRPr sz="44500"/>
            </a:lvl4pPr>
            <a:lvl5pPr marL="1828435" indent="0">
              <a:buNone/>
              <a:defRPr sz="44500"/>
            </a:lvl5pPr>
          </a:lstStyle>
          <a:p>
            <a:pPr lvl="0"/>
            <a:r>
              <a:rPr lang="en-US" dirty="0"/>
              <a:t>Click to Add Section Title</a:t>
            </a:r>
          </a:p>
        </p:txBody>
      </p:sp>
      <p:sp>
        <p:nvSpPr>
          <p:cNvPr id="11" name="Title 1">
            <a:extLst>
              <a:ext uri="{FF2B5EF4-FFF2-40B4-BE49-F238E27FC236}">
                <a16:creationId xmlns:a16="http://schemas.microsoft.com/office/drawing/2014/main" id="{334F9679-BCF2-7C33-4BC6-A8E0EBBB676B}"/>
              </a:ext>
            </a:extLst>
          </p:cNvPr>
          <p:cNvSpPr>
            <a:spLocks noGrp="1"/>
          </p:cNvSpPr>
          <p:nvPr>
            <p:ph type="title" hasCustomPrompt="1"/>
          </p:nvPr>
        </p:nvSpPr>
        <p:spPr>
          <a:xfrm>
            <a:off x="274637" y="5611398"/>
            <a:ext cx="11649456" cy="1124712"/>
          </a:xfrm>
        </p:spPr>
        <p:txBody>
          <a:bodyPr>
            <a:noAutofit/>
          </a:bodyPr>
          <a:lstStyle>
            <a:lvl1pPr>
              <a:lnSpc>
                <a:spcPct val="100000"/>
              </a:lnSpc>
              <a:defRPr sz="9600">
                <a:solidFill>
                  <a:schemeClr val="bg1"/>
                </a:solidFill>
              </a:defRPr>
            </a:lvl1pPr>
          </a:lstStyle>
          <a:p>
            <a:pPr lvl="0"/>
            <a:r>
              <a:rPr lang="en-US" dirty="0"/>
              <a:t>01</a:t>
            </a:r>
          </a:p>
        </p:txBody>
      </p:sp>
    </p:spTree>
    <p:extLst>
      <p:ext uri="{BB962C8B-B14F-4D97-AF65-F5344CB8AC3E}">
        <p14:creationId xmlns:p14="http://schemas.microsoft.com/office/powerpoint/2010/main" val="771329167"/>
      </p:ext>
    </p:extLst>
  </p:cSld>
  <p:clrMapOvr>
    <a:masterClrMapping/>
  </p:clrMapOvr>
  <p:transition>
    <p:fade/>
  </p:transition>
  <p:hf hdr="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21.xml"/><Relationship Id="rId1"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slideLayout" Target="../slideLayouts/slideLayout22.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25.xml"/><Relationship Id="rId2" Type="http://schemas.openxmlformats.org/officeDocument/2006/relationships/slideLayout" Target="../slideLayouts/slideLayout24.xml"/><Relationship Id="rId1" Type="http://schemas.openxmlformats.org/officeDocument/2006/relationships/slideLayout" Target="../slideLayouts/slideLayout23.xml"/><Relationship Id="rId5" Type="http://schemas.openxmlformats.org/officeDocument/2006/relationships/theme" Target="../theme/theme4.xml"/><Relationship Id="rId4" Type="http://schemas.openxmlformats.org/officeDocument/2006/relationships/slideLayout" Target="../slideLayouts/slideLayout2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404E793-73C5-4274-BC0A-27539C363DFA}"/>
              </a:ext>
            </a:extLst>
          </p:cNvPr>
          <p:cNvGraphicFramePr>
            <a:graphicFrameLocks noChangeAspect="1"/>
          </p:cNvGraphicFramePr>
          <p:nvPr userDrawn="1">
            <p:custDataLst>
              <p:tags r:id="rId22"/>
            </p:custDataLst>
            <p:extLst>
              <p:ext uri="{D42A27DB-BD31-4B8C-83A1-F6EECF244321}">
                <p14:modId xmlns:p14="http://schemas.microsoft.com/office/powerpoint/2010/main" val="4198121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6" name="think-cell Slide" r:id="rId23" imgW="395" imgH="394" progId="TCLayout.ActiveDocument.1">
                  <p:embed/>
                </p:oleObj>
              </mc:Choice>
              <mc:Fallback>
                <p:oleObj name="think-cell Slide" r:id="rId23" imgW="395" imgH="394" progId="TCLayout.ActiveDocument.1">
                  <p:embed/>
                  <p:pic>
                    <p:nvPicPr>
                      <p:cNvPr id="2" name="Object 1" hidden="1">
                        <a:extLst>
                          <a:ext uri="{FF2B5EF4-FFF2-40B4-BE49-F238E27FC236}">
                            <a16:creationId xmlns:a16="http://schemas.microsoft.com/office/drawing/2014/main" id="{7404E793-73C5-4274-BC0A-27539C363DFA}"/>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25" name="Title Placeholder 1">
            <a:extLst>
              <a:ext uri="{FF2B5EF4-FFF2-40B4-BE49-F238E27FC236}">
                <a16:creationId xmlns:a16="http://schemas.microsoft.com/office/drawing/2014/main" id="{1FDC8262-8DF2-1640-BFF9-41E3C7903326}"/>
              </a:ext>
            </a:extLst>
          </p:cNvPr>
          <p:cNvSpPr>
            <a:spLocks noGrp="1"/>
          </p:cNvSpPr>
          <p:nvPr>
            <p:ph type="title"/>
          </p:nvPr>
        </p:nvSpPr>
        <p:spPr>
          <a:xfrm>
            <a:off x="274638" y="366713"/>
            <a:ext cx="11647487" cy="1601787"/>
          </a:xfrm>
          <a:prstGeom prst="rect">
            <a:avLst/>
          </a:prstGeom>
        </p:spPr>
        <p:txBody>
          <a:bodyPr vert="horz" wrap="none" lIns="0" tIns="0" rIns="0" bIns="0" rtlCol="0" anchor="ctr">
            <a:noAutofit/>
          </a:bodyPr>
          <a:lstStyle/>
          <a:p>
            <a:r>
              <a:rPr lang="en-US" dirty="0"/>
              <a:t>Click to Add Title</a:t>
            </a:r>
          </a:p>
        </p:txBody>
      </p:sp>
      <p:sp>
        <p:nvSpPr>
          <p:cNvPr id="26" name="Text Placeholder 2">
            <a:extLst>
              <a:ext uri="{FF2B5EF4-FFF2-40B4-BE49-F238E27FC236}">
                <a16:creationId xmlns:a16="http://schemas.microsoft.com/office/drawing/2014/main" id="{E1E62C54-3B91-7A43-B1C6-5766DA4F8354}"/>
              </a:ext>
            </a:extLst>
          </p:cNvPr>
          <p:cNvSpPr>
            <a:spLocks noGrp="1"/>
          </p:cNvSpPr>
          <p:nvPr>
            <p:ph type="body" idx="1"/>
          </p:nvPr>
        </p:nvSpPr>
        <p:spPr>
          <a:xfrm>
            <a:off x="274638" y="1968500"/>
            <a:ext cx="11647487" cy="4386263"/>
          </a:xfrm>
          <a:prstGeom prst="rect">
            <a:avLst/>
          </a:prstGeom>
        </p:spPr>
        <p:txBody>
          <a:bodyPr vert="horz" lIns="0" tIns="0" rIns="0" bIns="45720" rtlCol="0">
            <a:no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5773758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400" rtl="0" eaLnBrk="1" latinLnBrk="0" hangingPunct="1">
        <a:lnSpc>
          <a:spcPts val="4000"/>
        </a:lnSpc>
        <a:spcBef>
          <a:spcPct val="0"/>
        </a:spcBef>
        <a:buNone/>
        <a:defRPr sz="4500" b="1" i="0" kern="1200" spc="-150">
          <a:ln w="19050">
            <a:noFill/>
            <a:miter lim="800000"/>
          </a:ln>
          <a:solidFill>
            <a:schemeClr val="tx1"/>
          </a:solidFill>
          <a:latin typeface="+mj-lt"/>
          <a:ea typeface="+mj-ea"/>
          <a:cs typeface="Arial" panose="020B0604020202020204" pitchFamily="34" charset="0"/>
        </a:defRPr>
      </a:lvl1pPr>
    </p:titleStyle>
    <p:bodyStyle>
      <a:lvl1pPr marL="274320" indent="-274320" algn="l" defTabSz="914400" rtl="0" eaLnBrk="1" latinLnBrk="0" hangingPunct="1">
        <a:lnSpc>
          <a:spcPct val="100000"/>
        </a:lnSpc>
        <a:spcBef>
          <a:spcPts val="0"/>
        </a:spcBef>
        <a:spcAft>
          <a:spcPts val="1000"/>
        </a:spcAft>
        <a:buClrTx/>
        <a:buSzPct val="100000"/>
        <a:buFont typeface="Arial" panose="020B0604020202020204" pitchFamily="34" charset="0"/>
        <a:buChar char="•"/>
        <a:defRPr sz="2400" b="0" i="0" kern="1200">
          <a:solidFill>
            <a:schemeClr val="tx1"/>
          </a:solidFill>
          <a:latin typeface="+mn-lt"/>
          <a:ea typeface="+mn-ea"/>
          <a:cs typeface="+mn-cs"/>
        </a:defRPr>
      </a:lvl1pPr>
      <a:lvl2pPr marL="548640" indent="-274320" algn="l" defTabSz="914400" rtl="0" eaLnBrk="1" latinLnBrk="0" hangingPunct="1">
        <a:lnSpc>
          <a:spcPct val="100000"/>
        </a:lnSpc>
        <a:spcBef>
          <a:spcPts val="0"/>
        </a:spcBef>
        <a:spcAft>
          <a:spcPts val="1000"/>
        </a:spcAft>
        <a:buClrTx/>
        <a:buSzPct val="100000"/>
        <a:buFont typeface="Arial" panose="020B0604020202020204" pitchFamily="34" charset="0"/>
        <a:buChar char="•"/>
        <a:defRPr sz="2400" b="0" i="0" kern="1200">
          <a:solidFill>
            <a:schemeClr val="tx1"/>
          </a:solidFill>
          <a:latin typeface="+mn-lt"/>
          <a:ea typeface="+mn-ea"/>
          <a:cs typeface="+mn-cs"/>
        </a:defRPr>
      </a:lvl2pPr>
      <a:lvl3pPr marL="822960" indent="-274320" algn="l" defTabSz="914400" rtl="0" eaLnBrk="1" latinLnBrk="0" hangingPunct="1">
        <a:lnSpc>
          <a:spcPct val="100000"/>
        </a:lnSpc>
        <a:spcBef>
          <a:spcPts val="0"/>
        </a:spcBef>
        <a:spcAft>
          <a:spcPts val="1000"/>
        </a:spcAft>
        <a:buClrTx/>
        <a:buSzPct val="100000"/>
        <a:buFont typeface="Arial" panose="020B0604020202020204" pitchFamily="34" charset="0"/>
        <a:buChar char="•"/>
        <a:defRPr sz="2400" b="0" i="0" kern="1200">
          <a:solidFill>
            <a:schemeClr val="tx1"/>
          </a:solidFill>
          <a:latin typeface="+mn-lt"/>
          <a:ea typeface="+mn-ea"/>
          <a:cs typeface="+mn-cs"/>
        </a:defRPr>
      </a:lvl3pPr>
      <a:lvl4pPr marL="1097280" indent="-274320" algn="l" defTabSz="914400" rtl="0" eaLnBrk="1" latinLnBrk="0" hangingPunct="1">
        <a:lnSpc>
          <a:spcPct val="100000"/>
        </a:lnSpc>
        <a:spcBef>
          <a:spcPts val="0"/>
        </a:spcBef>
        <a:spcAft>
          <a:spcPts val="1000"/>
        </a:spcAft>
        <a:buClrTx/>
        <a:buSzPct val="100000"/>
        <a:buFont typeface="Arial" panose="020B0604020202020204" pitchFamily="34" charset="0"/>
        <a:buChar char="•"/>
        <a:defRPr sz="2000" b="0" i="0" kern="1200">
          <a:solidFill>
            <a:schemeClr val="tx1"/>
          </a:solidFill>
          <a:latin typeface="+mn-lt"/>
          <a:ea typeface="+mn-ea"/>
          <a:cs typeface="+mn-cs"/>
        </a:defRPr>
      </a:lvl4pPr>
      <a:lvl5pPr marL="1371600" indent="-274320" algn="l" defTabSz="914400" rtl="0" eaLnBrk="1" latinLnBrk="0" hangingPunct="1">
        <a:lnSpc>
          <a:spcPct val="100000"/>
        </a:lnSpc>
        <a:spcBef>
          <a:spcPts val="0"/>
        </a:spcBef>
        <a:spcAft>
          <a:spcPts val="1000"/>
        </a:spcAft>
        <a:buClrTx/>
        <a:buSzPct val="100000"/>
        <a:buFont typeface="Arial" panose="020B0604020202020204" pitchFamily="34" charset="0"/>
        <a:buChar char="•"/>
        <a:defRPr sz="2000" b="0" i="0" kern="1200">
          <a:solidFill>
            <a:schemeClr val="tx1"/>
          </a:solidFill>
          <a:latin typeface="+mn-lt"/>
          <a:ea typeface="+mn-ea"/>
          <a:cs typeface="+mn-cs"/>
          <a:sym typeface="Wingdings" pitchFamily="2" charset="2"/>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875">
          <p15:clr>
            <a:srgbClr val="F26B43"/>
          </p15:clr>
        </p15:guide>
        <p15:guide id="2" pos="173">
          <p15:clr>
            <a:srgbClr val="F26B43"/>
          </p15:clr>
        </p15:guide>
        <p15:guide id="3" pos="2049">
          <p15:clr>
            <a:srgbClr val="F26B43"/>
          </p15:clr>
        </p15:guide>
        <p15:guide id="7" pos="3754">
          <p15:clr>
            <a:srgbClr val="F26B43"/>
          </p15:clr>
        </p15:guide>
        <p15:guide id="8" pos="3925">
          <p15:clr>
            <a:srgbClr val="F26B43"/>
          </p15:clr>
        </p15:guide>
        <p15:guide id="10" pos="5630">
          <p15:clr>
            <a:srgbClr val="F26B43"/>
          </p15:clr>
        </p15:guide>
        <p15:guide id="11" pos="5802">
          <p15:clr>
            <a:srgbClr val="F26B43"/>
          </p15:clr>
        </p15:guide>
        <p15:guide id="13" pos="7510">
          <p15:clr>
            <a:srgbClr val="F26B43"/>
          </p15:clr>
        </p15:guide>
        <p15:guide id="18" orient="horz" pos="231">
          <p15:clr>
            <a:srgbClr val="F26B43"/>
          </p15:clr>
        </p15:guide>
        <p15:guide id="22" orient="horz" pos="4003">
          <p15:clr>
            <a:srgbClr val="F26B43"/>
          </p15:clr>
        </p15:guide>
        <p15:guide id="24" orient="horz" pos="1240">
          <p15:clr>
            <a:srgbClr val="F26B43"/>
          </p15:clr>
        </p15:guide>
        <p15:guide id="25" pos="2502">
          <p15:clr>
            <a:srgbClr val="F26B43"/>
          </p15:clr>
        </p15:guide>
        <p15:guide id="26" pos="5179">
          <p15:clr>
            <a:srgbClr val="F26B43"/>
          </p15:clr>
        </p15:guide>
        <p15:guide id="27" pos="2675">
          <p15:clr>
            <a:srgbClr val="F26B43"/>
          </p15:clr>
        </p15:guide>
        <p15:guide id="28" pos="500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5" name="Title Placeholder 1">
            <a:extLst>
              <a:ext uri="{FF2B5EF4-FFF2-40B4-BE49-F238E27FC236}">
                <a16:creationId xmlns:a16="http://schemas.microsoft.com/office/drawing/2014/main" id="{1FDC8262-8DF2-1640-BFF9-41E3C7903326}"/>
              </a:ext>
            </a:extLst>
          </p:cNvPr>
          <p:cNvSpPr>
            <a:spLocks noGrp="1"/>
          </p:cNvSpPr>
          <p:nvPr>
            <p:ph type="title"/>
          </p:nvPr>
        </p:nvSpPr>
        <p:spPr>
          <a:xfrm>
            <a:off x="274638" y="366713"/>
            <a:ext cx="11647487" cy="1601787"/>
          </a:xfrm>
          <a:prstGeom prst="rect">
            <a:avLst/>
          </a:prstGeom>
        </p:spPr>
        <p:txBody>
          <a:bodyPr vert="horz" wrap="none" lIns="0" tIns="0" rIns="0" bIns="0" rtlCol="0" anchor="ctr">
            <a:noAutofit/>
          </a:bodyPr>
          <a:lstStyle/>
          <a:p>
            <a:r>
              <a:rPr lang="en-US"/>
              <a:t>Click to Add Title</a:t>
            </a:r>
          </a:p>
        </p:txBody>
      </p:sp>
      <p:sp>
        <p:nvSpPr>
          <p:cNvPr id="26" name="Text Placeholder 2">
            <a:extLst>
              <a:ext uri="{FF2B5EF4-FFF2-40B4-BE49-F238E27FC236}">
                <a16:creationId xmlns:a16="http://schemas.microsoft.com/office/drawing/2014/main" id="{E1E62C54-3B91-7A43-B1C6-5766DA4F8354}"/>
              </a:ext>
            </a:extLst>
          </p:cNvPr>
          <p:cNvSpPr>
            <a:spLocks noGrp="1"/>
          </p:cNvSpPr>
          <p:nvPr>
            <p:ph type="body" idx="1"/>
          </p:nvPr>
        </p:nvSpPr>
        <p:spPr>
          <a:xfrm>
            <a:off x="274638" y="1968500"/>
            <a:ext cx="11647487" cy="4386263"/>
          </a:xfrm>
          <a:prstGeom prst="rect">
            <a:avLst/>
          </a:prstGeom>
        </p:spPr>
        <p:txBody>
          <a:bodyPr vert="horz" lIns="0" tIns="0" rIns="0" bIns="45720" rtlCol="0">
            <a:noAutofit/>
          </a:body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89885314"/>
      </p:ext>
    </p:extLst>
  </p:cSld>
  <p:clrMap bg1="lt1" tx1="dk1" bg2="lt2" tx2="dk2" accent1="accent1" accent2="accent2" accent3="accent3" accent4="accent4" accent5="accent5" accent6="accent6" hlink="hlink" folHlink="folHlink"/>
  <p:sldLayoutIdLst>
    <p:sldLayoutId id="2147484923" r:id="rId1"/>
    <p:sldLayoutId id="2147484924" r:id="rId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400" rtl="0" eaLnBrk="1" latinLnBrk="0" hangingPunct="1">
        <a:lnSpc>
          <a:spcPts val="4000"/>
        </a:lnSpc>
        <a:spcBef>
          <a:spcPct val="0"/>
        </a:spcBef>
        <a:buNone/>
        <a:defRPr sz="4500" b="1" i="0" kern="1200" spc="-150">
          <a:ln w="19050">
            <a:noFill/>
            <a:miter lim="800000"/>
          </a:ln>
          <a:solidFill>
            <a:schemeClr val="tx1"/>
          </a:solidFill>
          <a:latin typeface="+mj-lt"/>
          <a:ea typeface="+mj-ea"/>
          <a:cs typeface="Arial" panose="020B0604020202020204" pitchFamily="34" charset="0"/>
        </a:defRPr>
      </a:lvl1pPr>
    </p:titleStyle>
    <p:bodyStyle>
      <a:lvl1pPr marL="274320" indent="-274320" algn="l" defTabSz="914400" rtl="0" eaLnBrk="1" latinLnBrk="0" hangingPunct="1">
        <a:lnSpc>
          <a:spcPct val="100000"/>
        </a:lnSpc>
        <a:spcBef>
          <a:spcPts val="0"/>
        </a:spcBef>
        <a:spcAft>
          <a:spcPts val="1000"/>
        </a:spcAft>
        <a:buClrTx/>
        <a:buSzPct val="100000"/>
        <a:buFont typeface="Arial" panose="020B0604020202020204" pitchFamily="34" charset="0"/>
        <a:buChar char="•"/>
        <a:defRPr sz="2400" b="0" i="0" kern="1200">
          <a:solidFill>
            <a:schemeClr val="tx1"/>
          </a:solidFill>
          <a:latin typeface="+mn-lt"/>
          <a:ea typeface="+mn-ea"/>
          <a:cs typeface="+mn-cs"/>
        </a:defRPr>
      </a:lvl1pPr>
      <a:lvl2pPr marL="548640" indent="-274320" algn="l" defTabSz="914400" rtl="0" eaLnBrk="1" latinLnBrk="0" hangingPunct="1">
        <a:lnSpc>
          <a:spcPct val="100000"/>
        </a:lnSpc>
        <a:spcBef>
          <a:spcPts val="0"/>
        </a:spcBef>
        <a:spcAft>
          <a:spcPts val="1000"/>
        </a:spcAft>
        <a:buClrTx/>
        <a:buSzPct val="100000"/>
        <a:buFont typeface="Arial" panose="020B0604020202020204" pitchFamily="34" charset="0"/>
        <a:buChar char="•"/>
        <a:defRPr sz="2400" b="0" i="0" kern="1200">
          <a:solidFill>
            <a:schemeClr val="tx1"/>
          </a:solidFill>
          <a:latin typeface="+mn-lt"/>
          <a:ea typeface="+mn-ea"/>
          <a:cs typeface="+mn-cs"/>
        </a:defRPr>
      </a:lvl2pPr>
      <a:lvl3pPr marL="822960" indent="-274320" algn="l" defTabSz="914400" rtl="0" eaLnBrk="1" latinLnBrk="0" hangingPunct="1">
        <a:lnSpc>
          <a:spcPct val="100000"/>
        </a:lnSpc>
        <a:spcBef>
          <a:spcPts val="0"/>
        </a:spcBef>
        <a:spcAft>
          <a:spcPts val="1000"/>
        </a:spcAft>
        <a:buClrTx/>
        <a:buSzPct val="100000"/>
        <a:buFont typeface="Arial" panose="020B0604020202020204" pitchFamily="34" charset="0"/>
        <a:buChar char="•"/>
        <a:defRPr sz="2400" b="0" i="0" kern="1200">
          <a:solidFill>
            <a:schemeClr val="tx1"/>
          </a:solidFill>
          <a:latin typeface="+mn-lt"/>
          <a:ea typeface="+mn-ea"/>
          <a:cs typeface="+mn-cs"/>
        </a:defRPr>
      </a:lvl3pPr>
      <a:lvl4pPr marL="1097280" indent="-274320" algn="l" defTabSz="914400" rtl="0" eaLnBrk="1" latinLnBrk="0" hangingPunct="1">
        <a:lnSpc>
          <a:spcPct val="100000"/>
        </a:lnSpc>
        <a:spcBef>
          <a:spcPts val="0"/>
        </a:spcBef>
        <a:spcAft>
          <a:spcPts val="1000"/>
        </a:spcAft>
        <a:buClrTx/>
        <a:buSzPct val="100000"/>
        <a:buFont typeface="Arial" panose="020B0604020202020204" pitchFamily="34" charset="0"/>
        <a:buChar char="•"/>
        <a:defRPr sz="2000" b="0" i="0" kern="1200">
          <a:solidFill>
            <a:schemeClr val="tx1"/>
          </a:solidFill>
          <a:latin typeface="+mn-lt"/>
          <a:ea typeface="+mn-ea"/>
          <a:cs typeface="+mn-cs"/>
        </a:defRPr>
      </a:lvl4pPr>
      <a:lvl5pPr marL="1371600" indent="-274320" algn="l" defTabSz="914400" rtl="0" eaLnBrk="1" latinLnBrk="0" hangingPunct="1">
        <a:lnSpc>
          <a:spcPct val="100000"/>
        </a:lnSpc>
        <a:spcBef>
          <a:spcPts val="0"/>
        </a:spcBef>
        <a:spcAft>
          <a:spcPts val="1000"/>
        </a:spcAft>
        <a:buClrTx/>
        <a:buSzPct val="100000"/>
        <a:buFont typeface="Arial" panose="020B0604020202020204" pitchFamily="34" charset="0"/>
        <a:buChar char="•"/>
        <a:defRPr sz="2000" b="0" i="0" kern="1200">
          <a:solidFill>
            <a:schemeClr val="tx1"/>
          </a:solidFill>
          <a:latin typeface="+mn-lt"/>
          <a:ea typeface="+mn-ea"/>
          <a:cs typeface="+mn-cs"/>
          <a:sym typeface="Wingdings" pitchFamily="2" charset="2"/>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875">
          <p15:clr>
            <a:srgbClr val="F26B43"/>
          </p15:clr>
        </p15:guide>
        <p15:guide id="2" pos="173">
          <p15:clr>
            <a:srgbClr val="F26B43"/>
          </p15:clr>
        </p15:guide>
        <p15:guide id="3" pos="2049">
          <p15:clr>
            <a:srgbClr val="F26B43"/>
          </p15:clr>
        </p15:guide>
        <p15:guide id="7" pos="3754">
          <p15:clr>
            <a:srgbClr val="F26B43"/>
          </p15:clr>
        </p15:guide>
        <p15:guide id="8" pos="3925">
          <p15:clr>
            <a:srgbClr val="F26B43"/>
          </p15:clr>
        </p15:guide>
        <p15:guide id="10" pos="5630">
          <p15:clr>
            <a:srgbClr val="F26B43"/>
          </p15:clr>
        </p15:guide>
        <p15:guide id="11" pos="5802">
          <p15:clr>
            <a:srgbClr val="F26B43"/>
          </p15:clr>
        </p15:guide>
        <p15:guide id="13" pos="7510">
          <p15:clr>
            <a:srgbClr val="F26B43"/>
          </p15:clr>
        </p15:guide>
        <p15:guide id="18" orient="horz" pos="231">
          <p15:clr>
            <a:srgbClr val="F26B43"/>
          </p15:clr>
        </p15:guide>
        <p15:guide id="22" orient="horz" pos="4003">
          <p15:clr>
            <a:srgbClr val="F26B43"/>
          </p15:clr>
        </p15:guide>
        <p15:guide id="24" orient="horz" pos="1240">
          <p15:clr>
            <a:srgbClr val="F26B43"/>
          </p15:clr>
        </p15:guide>
        <p15:guide id="25" pos="2502">
          <p15:clr>
            <a:srgbClr val="F26B43"/>
          </p15:clr>
        </p15:guide>
        <p15:guide id="26" pos="5179">
          <p15:clr>
            <a:srgbClr val="F26B43"/>
          </p15:clr>
        </p15:guide>
        <p15:guide id="27" pos="2675">
          <p15:clr>
            <a:srgbClr val="F26B43"/>
          </p15:clr>
        </p15:guide>
        <p15:guide id="28" pos="50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5" name="Title Placeholder 1">
            <a:extLst>
              <a:ext uri="{FF2B5EF4-FFF2-40B4-BE49-F238E27FC236}">
                <a16:creationId xmlns:a16="http://schemas.microsoft.com/office/drawing/2014/main" id="{1FDC8262-8DF2-1640-BFF9-41E3C7903326}"/>
              </a:ext>
            </a:extLst>
          </p:cNvPr>
          <p:cNvSpPr>
            <a:spLocks noGrp="1"/>
          </p:cNvSpPr>
          <p:nvPr>
            <p:ph type="title"/>
          </p:nvPr>
        </p:nvSpPr>
        <p:spPr>
          <a:xfrm>
            <a:off x="274638" y="366713"/>
            <a:ext cx="11647487" cy="1601787"/>
          </a:xfrm>
          <a:prstGeom prst="rect">
            <a:avLst/>
          </a:prstGeom>
        </p:spPr>
        <p:txBody>
          <a:bodyPr vert="horz" wrap="none" lIns="0" tIns="0" rIns="0" bIns="0" rtlCol="0" anchor="ctr">
            <a:noAutofit/>
          </a:bodyPr>
          <a:lstStyle/>
          <a:p>
            <a:r>
              <a:rPr lang="en-US"/>
              <a:t>Click to Add Title</a:t>
            </a:r>
          </a:p>
        </p:txBody>
      </p:sp>
      <p:sp>
        <p:nvSpPr>
          <p:cNvPr id="26" name="Text Placeholder 2">
            <a:extLst>
              <a:ext uri="{FF2B5EF4-FFF2-40B4-BE49-F238E27FC236}">
                <a16:creationId xmlns:a16="http://schemas.microsoft.com/office/drawing/2014/main" id="{E1E62C54-3B91-7A43-B1C6-5766DA4F8354}"/>
              </a:ext>
            </a:extLst>
          </p:cNvPr>
          <p:cNvSpPr>
            <a:spLocks noGrp="1"/>
          </p:cNvSpPr>
          <p:nvPr>
            <p:ph type="body" idx="1"/>
          </p:nvPr>
        </p:nvSpPr>
        <p:spPr>
          <a:xfrm>
            <a:off x="274638" y="1968500"/>
            <a:ext cx="11647487" cy="4386263"/>
          </a:xfrm>
          <a:prstGeom prst="rect">
            <a:avLst/>
          </a:prstGeom>
        </p:spPr>
        <p:txBody>
          <a:bodyPr vert="horz" lIns="0" tIns="0" rIns="0" bIns="45720" rtlCol="0">
            <a:noAutofit/>
          </a:body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89885314"/>
      </p:ext>
    </p:extLst>
  </p:cSld>
  <p:clrMap bg1="lt1" tx1="dk1" bg2="lt2" tx2="dk2" accent1="accent1" accent2="accent2" accent3="accent3" accent4="accent4" accent5="accent5" accent6="accent6" hlink="hlink" folHlink="folHlink"/>
  <p:sldLayoutIdLst>
    <p:sldLayoutId id="2147484991" r:id="rId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400" rtl="0" eaLnBrk="1" latinLnBrk="0" hangingPunct="1">
        <a:lnSpc>
          <a:spcPts val="4000"/>
        </a:lnSpc>
        <a:spcBef>
          <a:spcPct val="0"/>
        </a:spcBef>
        <a:buNone/>
        <a:defRPr sz="4500" b="1" i="0" kern="1200" spc="-150">
          <a:ln w="19050">
            <a:noFill/>
            <a:miter lim="800000"/>
          </a:ln>
          <a:solidFill>
            <a:schemeClr val="tx1"/>
          </a:solidFill>
          <a:latin typeface="+mj-lt"/>
          <a:ea typeface="+mj-ea"/>
          <a:cs typeface="Arial" panose="020B0604020202020204" pitchFamily="34" charset="0"/>
        </a:defRPr>
      </a:lvl1pPr>
    </p:titleStyle>
    <p:bodyStyle>
      <a:lvl1pPr marL="274320" indent="-274320" algn="l" defTabSz="914400" rtl="0" eaLnBrk="1" latinLnBrk="0" hangingPunct="1">
        <a:lnSpc>
          <a:spcPct val="100000"/>
        </a:lnSpc>
        <a:spcBef>
          <a:spcPts val="0"/>
        </a:spcBef>
        <a:spcAft>
          <a:spcPts val="1000"/>
        </a:spcAft>
        <a:buClrTx/>
        <a:buSzPct val="100000"/>
        <a:buFont typeface="Arial" panose="020B0604020202020204" pitchFamily="34" charset="0"/>
        <a:buChar char="•"/>
        <a:defRPr sz="2400" b="0" i="0" kern="1200">
          <a:solidFill>
            <a:schemeClr val="tx1"/>
          </a:solidFill>
          <a:latin typeface="+mn-lt"/>
          <a:ea typeface="+mn-ea"/>
          <a:cs typeface="+mn-cs"/>
        </a:defRPr>
      </a:lvl1pPr>
      <a:lvl2pPr marL="548640" indent="-274320" algn="l" defTabSz="914400" rtl="0" eaLnBrk="1" latinLnBrk="0" hangingPunct="1">
        <a:lnSpc>
          <a:spcPct val="100000"/>
        </a:lnSpc>
        <a:spcBef>
          <a:spcPts val="0"/>
        </a:spcBef>
        <a:spcAft>
          <a:spcPts val="1000"/>
        </a:spcAft>
        <a:buClrTx/>
        <a:buSzPct val="100000"/>
        <a:buFont typeface="Arial" panose="020B0604020202020204" pitchFamily="34" charset="0"/>
        <a:buChar char="•"/>
        <a:defRPr sz="2400" b="0" i="0" kern="1200">
          <a:solidFill>
            <a:schemeClr val="tx1"/>
          </a:solidFill>
          <a:latin typeface="+mn-lt"/>
          <a:ea typeface="+mn-ea"/>
          <a:cs typeface="+mn-cs"/>
        </a:defRPr>
      </a:lvl2pPr>
      <a:lvl3pPr marL="822960" indent="-274320" algn="l" defTabSz="914400" rtl="0" eaLnBrk="1" latinLnBrk="0" hangingPunct="1">
        <a:lnSpc>
          <a:spcPct val="100000"/>
        </a:lnSpc>
        <a:spcBef>
          <a:spcPts val="0"/>
        </a:spcBef>
        <a:spcAft>
          <a:spcPts val="1000"/>
        </a:spcAft>
        <a:buClrTx/>
        <a:buSzPct val="100000"/>
        <a:buFont typeface="Arial" panose="020B0604020202020204" pitchFamily="34" charset="0"/>
        <a:buChar char="•"/>
        <a:defRPr sz="2400" b="0" i="0" kern="1200">
          <a:solidFill>
            <a:schemeClr val="tx1"/>
          </a:solidFill>
          <a:latin typeface="+mn-lt"/>
          <a:ea typeface="+mn-ea"/>
          <a:cs typeface="+mn-cs"/>
        </a:defRPr>
      </a:lvl3pPr>
      <a:lvl4pPr marL="1097280" indent="-274320" algn="l" defTabSz="914400" rtl="0" eaLnBrk="1" latinLnBrk="0" hangingPunct="1">
        <a:lnSpc>
          <a:spcPct val="100000"/>
        </a:lnSpc>
        <a:spcBef>
          <a:spcPts val="0"/>
        </a:spcBef>
        <a:spcAft>
          <a:spcPts val="1000"/>
        </a:spcAft>
        <a:buClrTx/>
        <a:buSzPct val="100000"/>
        <a:buFont typeface="Arial" panose="020B0604020202020204" pitchFamily="34" charset="0"/>
        <a:buChar char="•"/>
        <a:defRPr sz="2000" b="0" i="0" kern="1200">
          <a:solidFill>
            <a:schemeClr val="tx1"/>
          </a:solidFill>
          <a:latin typeface="+mn-lt"/>
          <a:ea typeface="+mn-ea"/>
          <a:cs typeface="+mn-cs"/>
        </a:defRPr>
      </a:lvl4pPr>
      <a:lvl5pPr marL="1371600" indent="-274320" algn="l" defTabSz="914400" rtl="0" eaLnBrk="1" latinLnBrk="0" hangingPunct="1">
        <a:lnSpc>
          <a:spcPct val="100000"/>
        </a:lnSpc>
        <a:spcBef>
          <a:spcPts val="0"/>
        </a:spcBef>
        <a:spcAft>
          <a:spcPts val="1000"/>
        </a:spcAft>
        <a:buClrTx/>
        <a:buSzPct val="100000"/>
        <a:buFont typeface="Arial" panose="020B0604020202020204" pitchFamily="34" charset="0"/>
        <a:buChar char="•"/>
        <a:defRPr sz="2000" b="0" i="0" kern="1200">
          <a:solidFill>
            <a:schemeClr val="tx1"/>
          </a:solidFill>
          <a:latin typeface="+mn-lt"/>
          <a:ea typeface="+mn-ea"/>
          <a:cs typeface="+mn-cs"/>
          <a:sym typeface="Wingdings" pitchFamily="2" charset="2"/>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875">
          <p15:clr>
            <a:srgbClr val="F26B43"/>
          </p15:clr>
        </p15:guide>
        <p15:guide id="2" pos="173">
          <p15:clr>
            <a:srgbClr val="F26B43"/>
          </p15:clr>
        </p15:guide>
        <p15:guide id="3" pos="2049">
          <p15:clr>
            <a:srgbClr val="F26B43"/>
          </p15:clr>
        </p15:guide>
        <p15:guide id="7" pos="3754">
          <p15:clr>
            <a:srgbClr val="F26B43"/>
          </p15:clr>
        </p15:guide>
        <p15:guide id="8" pos="3925">
          <p15:clr>
            <a:srgbClr val="F26B43"/>
          </p15:clr>
        </p15:guide>
        <p15:guide id="10" pos="5630">
          <p15:clr>
            <a:srgbClr val="F26B43"/>
          </p15:clr>
        </p15:guide>
        <p15:guide id="11" pos="5802">
          <p15:clr>
            <a:srgbClr val="F26B43"/>
          </p15:clr>
        </p15:guide>
        <p15:guide id="13" pos="7510">
          <p15:clr>
            <a:srgbClr val="F26B43"/>
          </p15:clr>
        </p15:guide>
        <p15:guide id="18" orient="horz" pos="231">
          <p15:clr>
            <a:srgbClr val="F26B43"/>
          </p15:clr>
        </p15:guide>
        <p15:guide id="22" orient="horz" pos="4003">
          <p15:clr>
            <a:srgbClr val="F26B43"/>
          </p15:clr>
        </p15:guide>
        <p15:guide id="24" orient="horz" pos="1240">
          <p15:clr>
            <a:srgbClr val="F26B43"/>
          </p15:clr>
        </p15:guide>
        <p15:guide id="25" pos="2502">
          <p15:clr>
            <a:srgbClr val="F26B43"/>
          </p15:clr>
        </p15:guide>
        <p15:guide id="26" pos="5179">
          <p15:clr>
            <a:srgbClr val="F26B43"/>
          </p15:clr>
        </p15:guide>
        <p15:guide id="27" pos="2675">
          <p15:clr>
            <a:srgbClr val="F26B43"/>
          </p15:clr>
        </p15:guide>
        <p15:guide id="28" pos="500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5" name="Title Placeholder 1">
            <a:extLst>
              <a:ext uri="{FF2B5EF4-FFF2-40B4-BE49-F238E27FC236}">
                <a16:creationId xmlns:a16="http://schemas.microsoft.com/office/drawing/2014/main" id="{1FDC8262-8DF2-1640-BFF9-41E3C7903326}"/>
              </a:ext>
            </a:extLst>
          </p:cNvPr>
          <p:cNvSpPr>
            <a:spLocks noGrp="1"/>
          </p:cNvSpPr>
          <p:nvPr>
            <p:ph type="title"/>
          </p:nvPr>
        </p:nvSpPr>
        <p:spPr>
          <a:xfrm>
            <a:off x="274638" y="366713"/>
            <a:ext cx="11647487" cy="1601787"/>
          </a:xfrm>
          <a:prstGeom prst="rect">
            <a:avLst/>
          </a:prstGeom>
        </p:spPr>
        <p:txBody>
          <a:bodyPr vert="horz" wrap="none" lIns="0" tIns="0" rIns="0" bIns="0" rtlCol="0" anchor="ctr">
            <a:noAutofit/>
          </a:bodyPr>
          <a:lstStyle/>
          <a:p>
            <a:r>
              <a:rPr lang="en-US" dirty="0"/>
              <a:t>Click to Add Title</a:t>
            </a:r>
          </a:p>
        </p:txBody>
      </p:sp>
      <p:sp>
        <p:nvSpPr>
          <p:cNvPr id="26" name="Text Placeholder 2">
            <a:extLst>
              <a:ext uri="{FF2B5EF4-FFF2-40B4-BE49-F238E27FC236}">
                <a16:creationId xmlns:a16="http://schemas.microsoft.com/office/drawing/2014/main" id="{E1E62C54-3B91-7A43-B1C6-5766DA4F8354}"/>
              </a:ext>
            </a:extLst>
          </p:cNvPr>
          <p:cNvSpPr>
            <a:spLocks noGrp="1"/>
          </p:cNvSpPr>
          <p:nvPr>
            <p:ph type="body" idx="1"/>
          </p:nvPr>
        </p:nvSpPr>
        <p:spPr>
          <a:xfrm>
            <a:off x="274638" y="1968500"/>
            <a:ext cx="11647487" cy="4386263"/>
          </a:xfrm>
          <a:prstGeom prst="rect">
            <a:avLst/>
          </a:prstGeom>
        </p:spPr>
        <p:txBody>
          <a:bodyPr vert="horz" lIns="0" tIns="0" rIns="0" bIns="45720" rtlCol="0">
            <a:no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89885314"/>
      </p:ext>
    </p:extLst>
  </p:cSld>
  <p:clrMap bg1="lt1" tx1="dk1" bg2="lt2" tx2="dk2" accent1="accent1" accent2="accent2" accent3="accent3" accent4="accent4" accent5="accent5" accent6="accent6" hlink="hlink" folHlink="folHlink"/>
  <p:sldLayoutIdLst>
    <p:sldLayoutId id="2147484930" r:id="rId1"/>
    <p:sldLayoutId id="2147484922" r:id="rId2"/>
    <p:sldLayoutId id="2147484928" r:id="rId3"/>
    <p:sldLayoutId id="2147484993"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400" rtl="0" eaLnBrk="1" latinLnBrk="0" hangingPunct="1">
        <a:lnSpc>
          <a:spcPts val="4000"/>
        </a:lnSpc>
        <a:spcBef>
          <a:spcPct val="0"/>
        </a:spcBef>
        <a:buNone/>
        <a:defRPr sz="4500" b="1" i="0" kern="1200" spc="-150">
          <a:ln w="19050">
            <a:noFill/>
            <a:miter lim="800000"/>
          </a:ln>
          <a:solidFill>
            <a:schemeClr val="tx1"/>
          </a:solidFill>
          <a:latin typeface="+mj-lt"/>
          <a:ea typeface="+mj-ea"/>
          <a:cs typeface="Arial" panose="020B0604020202020204" pitchFamily="34" charset="0"/>
        </a:defRPr>
      </a:lvl1pPr>
    </p:titleStyle>
    <p:bodyStyle>
      <a:lvl1pPr marL="274320" indent="-274320" algn="l" defTabSz="914400" rtl="0" eaLnBrk="1" latinLnBrk="0" hangingPunct="1">
        <a:lnSpc>
          <a:spcPct val="100000"/>
        </a:lnSpc>
        <a:spcBef>
          <a:spcPts val="0"/>
        </a:spcBef>
        <a:spcAft>
          <a:spcPts val="1000"/>
        </a:spcAft>
        <a:buClrTx/>
        <a:buSzPct val="100000"/>
        <a:buFont typeface="Arial" panose="020B0604020202020204" pitchFamily="34" charset="0"/>
        <a:buChar char="•"/>
        <a:defRPr sz="2400" b="0" i="0" kern="1200">
          <a:solidFill>
            <a:schemeClr val="tx1"/>
          </a:solidFill>
          <a:latin typeface="+mn-lt"/>
          <a:ea typeface="+mn-ea"/>
          <a:cs typeface="+mn-cs"/>
        </a:defRPr>
      </a:lvl1pPr>
      <a:lvl2pPr marL="548640" indent="-274320" algn="l" defTabSz="914400" rtl="0" eaLnBrk="1" latinLnBrk="0" hangingPunct="1">
        <a:lnSpc>
          <a:spcPct val="100000"/>
        </a:lnSpc>
        <a:spcBef>
          <a:spcPts val="0"/>
        </a:spcBef>
        <a:spcAft>
          <a:spcPts val="1000"/>
        </a:spcAft>
        <a:buClrTx/>
        <a:buSzPct val="100000"/>
        <a:buFont typeface="Arial" panose="020B0604020202020204" pitchFamily="34" charset="0"/>
        <a:buChar char="•"/>
        <a:defRPr sz="2400" b="0" i="0" kern="1200">
          <a:solidFill>
            <a:schemeClr val="tx1"/>
          </a:solidFill>
          <a:latin typeface="+mn-lt"/>
          <a:ea typeface="+mn-ea"/>
          <a:cs typeface="+mn-cs"/>
        </a:defRPr>
      </a:lvl2pPr>
      <a:lvl3pPr marL="822960" indent="-274320" algn="l" defTabSz="914400" rtl="0" eaLnBrk="1" latinLnBrk="0" hangingPunct="1">
        <a:lnSpc>
          <a:spcPct val="100000"/>
        </a:lnSpc>
        <a:spcBef>
          <a:spcPts val="0"/>
        </a:spcBef>
        <a:spcAft>
          <a:spcPts val="1000"/>
        </a:spcAft>
        <a:buClrTx/>
        <a:buSzPct val="100000"/>
        <a:buFont typeface="Arial" panose="020B0604020202020204" pitchFamily="34" charset="0"/>
        <a:buChar char="•"/>
        <a:defRPr sz="2400" b="0" i="0" kern="1200">
          <a:solidFill>
            <a:schemeClr val="tx1"/>
          </a:solidFill>
          <a:latin typeface="+mn-lt"/>
          <a:ea typeface="+mn-ea"/>
          <a:cs typeface="+mn-cs"/>
        </a:defRPr>
      </a:lvl3pPr>
      <a:lvl4pPr marL="1097280" indent="-274320" algn="l" defTabSz="914400" rtl="0" eaLnBrk="1" latinLnBrk="0" hangingPunct="1">
        <a:lnSpc>
          <a:spcPct val="100000"/>
        </a:lnSpc>
        <a:spcBef>
          <a:spcPts val="0"/>
        </a:spcBef>
        <a:spcAft>
          <a:spcPts val="1000"/>
        </a:spcAft>
        <a:buClrTx/>
        <a:buSzPct val="100000"/>
        <a:buFont typeface="Arial" panose="020B0604020202020204" pitchFamily="34" charset="0"/>
        <a:buChar char="•"/>
        <a:defRPr sz="2000" b="0" i="0" kern="1200">
          <a:solidFill>
            <a:schemeClr val="tx1"/>
          </a:solidFill>
          <a:latin typeface="+mn-lt"/>
          <a:ea typeface="+mn-ea"/>
          <a:cs typeface="+mn-cs"/>
        </a:defRPr>
      </a:lvl4pPr>
      <a:lvl5pPr marL="1371600" indent="-274320" algn="l" defTabSz="914400" rtl="0" eaLnBrk="1" latinLnBrk="0" hangingPunct="1">
        <a:lnSpc>
          <a:spcPct val="100000"/>
        </a:lnSpc>
        <a:spcBef>
          <a:spcPts val="0"/>
        </a:spcBef>
        <a:spcAft>
          <a:spcPts val="1000"/>
        </a:spcAft>
        <a:buClrTx/>
        <a:buSzPct val="100000"/>
        <a:buFont typeface="Arial" panose="020B0604020202020204" pitchFamily="34" charset="0"/>
        <a:buChar char="•"/>
        <a:defRPr sz="2000" b="0" i="0" kern="1200">
          <a:solidFill>
            <a:schemeClr val="tx1"/>
          </a:solidFill>
          <a:latin typeface="+mn-lt"/>
          <a:ea typeface="+mn-ea"/>
          <a:cs typeface="+mn-cs"/>
          <a:sym typeface="Wingdings" pitchFamily="2" charset="2"/>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875">
          <p15:clr>
            <a:srgbClr val="F26B43"/>
          </p15:clr>
        </p15:guide>
        <p15:guide id="2" pos="173">
          <p15:clr>
            <a:srgbClr val="F26B43"/>
          </p15:clr>
        </p15:guide>
        <p15:guide id="3" pos="2049">
          <p15:clr>
            <a:srgbClr val="F26B43"/>
          </p15:clr>
        </p15:guide>
        <p15:guide id="7" pos="3754">
          <p15:clr>
            <a:srgbClr val="F26B43"/>
          </p15:clr>
        </p15:guide>
        <p15:guide id="8" pos="3925">
          <p15:clr>
            <a:srgbClr val="F26B43"/>
          </p15:clr>
        </p15:guide>
        <p15:guide id="10" pos="5630">
          <p15:clr>
            <a:srgbClr val="F26B43"/>
          </p15:clr>
        </p15:guide>
        <p15:guide id="11" pos="5802">
          <p15:clr>
            <a:srgbClr val="F26B43"/>
          </p15:clr>
        </p15:guide>
        <p15:guide id="13" pos="7510">
          <p15:clr>
            <a:srgbClr val="F26B43"/>
          </p15:clr>
        </p15:guide>
        <p15:guide id="18" orient="horz" pos="231">
          <p15:clr>
            <a:srgbClr val="F26B43"/>
          </p15:clr>
        </p15:guide>
        <p15:guide id="22" orient="horz" pos="4003">
          <p15:clr>
            <a:srgbClr val="F26B43"/>
          </p15:clr>
        </p15:guide>
        <p15:guide id="24" orient="horz" pos="1240">
          <p15:clr>
            <a:srgbClr val="F26B43"/>
          </p15:clr>
        </p15:guide>
        <p15:guide id="25" pos="2502">
          <p15:clr>
            <a:srgbClr val="F26B43"/>
          </p15:clr>
        </p15:guide>
        <p15:guide id="26" pos="5179">
          <p15:clr>
            <a:srgbClr val="F26B43"/>
          </p15:clr>
        </p15:guide>
        <p15:guide id="27" pos="2675">
          <p15:clr>
            <a:srgbClr val="F26B43"/>
          </p15:clr>
        </p15:guide>
        <p15:guide id="28" pos="5006">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7.xml"/><Relationship Id="rId1" Type="http://schemas.openxmlformats.org/officeDocument/2006/relationships/slideLayout" Target="../slideLayouts/slideLayout22.xml"/><Relationship Id="rId5" Type="http://schemas.openxmlformats.org/officeDocument/2006/relationships/chart" Target="../charts/chart2.xml"/><Relationship Id="rId4" Type="http://schemas.openxmlformats.org/officeDocument/2006/relationships/image" Target="../media/image51.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image" Target="../media/image52.jpeg"/><Relationship Id="rId7" Type="http://schemas.openxmlformats.org/officeDocument/2006/relationships/image" Target="../media/image56.jpeg"/><Relationship Id="rId2" Type="http://schemas.openxmlformats.org/officeDocument/2006/relationships/notesSlide" Target="../notesSlides/notesSlide8.xml"/><Relationship Id="rId1" Type="http://schemas.openxmlformats.org/officeDocument/2006/relationships/slideLayout" Target="../slideLayouts/slideLayout26.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53.png"/><Relationship Id="rId9" Type="http://schemas.openxmlformats.org/officeDocument/2006/relationships/image" Target="../media/image58.jpeg"/></Relationships>
</file>

<file path=ppt/slides/_rels/slide13.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9.xml"/><Relationship Id="rId1" Type="http://schemas.openxmlformats.org/officeDocument/2006/relationships/slideLayout" Target="../slideLayouts/slideLayout25.xml"/><Relationship Id="rId5" Type="http://schemas.openxmlformats.org/officeDocument/2006/relationships/image" Target="../media/image61.png"/><Relationship Id="rId4" Type="http://schemas.openxmlformats.org/officeDocument/2006/relationships/image" Target="../media/image60.jpeg"/></Relationships>
</file>

<file path=ppt/slides/_rels/slide1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0.xml"/><Relationship Id="rId1" Type="http://schemas.openxmlformats.org/officeDocument/2006/relationships/slideLayout" Target="../slideLayouts/slideLayout25.xml"/><Relationship Id="rId4" Type="http://schemas.microsoft.com/office/2007/relationships/hdphoto" Target="../media/hdphoto1.wdp"/></Relationships>
</file>

<file path=ppt/slides/_rels/slide15.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1.xml"/><Relationship Id="rId1" Type="http://schemas.openxmlformats.org/officeDocument/2006/relationships/slideLayout" Target="../slideLayouts/slideLayout25.xml"/><Relationship Id="rId5" Type="http://schemas.openxmlformats.org/officeDocument/2006/relationships/image" Target="../media/image65.png"/><Relationship Id="rId4" Type="http://schemas.openxmlformats.org/officeDocument/2006/relationships/image" Target="../media/image64.png"/></Relationships>
</file>

<file path=ppt/slides/_rels/slide16.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image" Target="../media/image66.emf"/><Relationship Id="rId7" Type="http://schemas.microsoft.com/office/2007/relationships/hdphoto" Target="../media/hdphoto2.wdp"/><Relationship Id="rId2" Type="http://schemas.openxmlformats.org/officeDocument/2006/relationships/notesSlide" Target="../notesSlides/notesSlide12.xml"/><Relationship Id="rId1" Type="http://schemas.openxmlformats.org/officeDocument/2006/relationships/slideLayout" Target="../slideLayouts/slideLayout25.xml"/><Relationship Id="rId6" Type="http://schemas.openxmlformats.org/officeDocument/2006/relationships/image" Target="../media/image69.png"/><Relationship Id="rId5" Type="http://schemas.openxmlformats.org/officeDocument/2006/relationships/image" Target="../media/image68.png"/><Relationship Id="rId10" Type="http://schemas.openxmlformats.org/officeDocument/2006/relationships/image" Target="../media/image71.emf"/><Relationship Id="rId4" Type="http://schemas.openxmlformats.org/officeDocument/2006/relationships/image" Target="../media/image67.png"/><Relationship Id="rId9" Type="http://schemas.microsoft.com/office/2007/relationships/hdphoto" Target="../media/hdphoto3.wdp"/></Relationships>
</file>

<file path=ppt/slides/_rels/slide17.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13.xml"/><Relationship Id="rId1" Type="http://schemas.openxmlformats.org/officeDocument/2006/relationships/slideLayout" Target="../slideLayouts/slideLayout25.xml"/><Relationship Id="rId4" Type="http://schemas.openxmlformats.org/officeDocument/2006/relationships/image" Target="../media/image73.png"/></Relationships>
</file>

<file path=ppt/slides/_rels/slide18.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4.xml"/><Relationship Id="rId1" Type="http://schemas.openxmlformats.org/officeDocument/2006/relationships/slideLayout" Target="../slideLayouts/slideLayout2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Layout" Target="../slideLayouts/slideLayout25.xml"/></Relationships>
</file>

<file path=ppt/slides/_rels/slide21.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15.xml"/><Relationship Id="rId1" Type="http://schemas.openxmlformats.org/officeDocument/2006/relationships/slideLayout" Target="../slideLayouts/slideLayout24.xml"/></Relationships>
</file>

<file path=ppt/slides/_rels/slide22.xml.rels><?xml version="1.0" encoding="UTF-8" standalone="yes"?>
<Relationships xmlns="http://schemas.openxmlformats.org/package/2006/relationships"><Relationship Id="rId3" Type="http://schemas.openxmlformats.org/officeDocument/2006/relationships/image" Target="../media/image78.jpeg"/><Relationship Id="rId7" Type="http://schemas.openxmlformats.org/officeDocument/2006/relationships/image" Target="../media/image82.jpg"/><Relationship Id="rId2" Type="http://schemas.openxmlformats.org/officeDocument/2006/relationships/notesSlide" Target="../notesSlides/notesSlide16.xml"/><Relationship Id="rId1" Type="http://schemas.openxmlformats.org/officeDocument/2006/relationships/slideLayout" Target="../slideLayouts/slideLayout23.xml"/><Relationship Id="rId6" Type="http://schemas.openxmlformats.org/officeDocument/2006/relationships/image" Target="../media/image81.jpeg"/><Relationship Id="rId5" Type="http://schemas.openxmlformats.org/officeDocument/2006/relationships/image" Target="../media/image80.png"/><Relationship Id="rId4" Type="http://schemas.openxmlformats.org/officeDocument/2006/relationships/image" Target="../media/image79.png"/></Relationships>
</file>

<file path=ppt/slides/_rels/slide23.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2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image" Target="../media/image19.png"/><Relationship Id="rId18" Type="http://schemas.openxmlformats.org/officeDocument/2006/relationships/image" Target="../media/image24.png"/><Relationship Id="rId26" Type="http://schemas.openxmlformats.org/officeDocument/2006/relationships/image" Target="../media/image32.png"/><Relationship Id="rId3" Type="http://schemas.openxmlformats.org/officeDocument/2006/relationships/image" Target="../media/image9.png"/><Relationship Id="rId21" Type="http://schemas.openxmlformats.org/officeDocument/2006/relationships/image" Target="../media/image27.png"/><Relationship Id="rId7" Type="http://schemas.openxmlformats.org/officeDocument/2006/relationships/image" Target="../media/image13.emf"/><Relationship Id="rId12" Type="http://schemas.openxmlformats.org/officeDocument/2006/relationships/image" Target="../media/image18.png"/><Relationship Id="rId17" Type="http://schemas.openxmlformats.org/officeDocument/2006/relationships/image" Target="../media/image23.png"/><Relationship Id="rId25" Type="http://schemas.openxmlformats.org/officeDocument/2006/relationships/image" Target="../media/image31.png"/><Relationship Id="rId2" Type="http://schemas.openxmlformats.org/officeDocument/2006/relationships/notesSlide" Target="../notesSlides/notesSlide2.xml"/><Relationship Id="rId16" Type="http://schemas.openxmlformats.org/officeDocument/2006/relationships/image" Target="../media/image22.png"/><Relationship Id="rId20" Type="http://schemas.openxmlformats.org/officeDocument/2006/relationships/image" Target="../media/image26.png"/><Relationship Id="rId1" Type="http://schemas.openxmlformats.org/officeDocument/2006/relationships/slideLayout" Target="../slideLayouts/slideLayout10.xml"/><Relationship Id="rId6" Type="http://schemas.openxmlformats.org/officeDocument/2006/relationships/image" Target="../media/image12.png"/><Relationship Id="rId11" Type="http://schemas.openxmlformats.org/officeDocument/2006/relationships/image" Target="../media/image17.png"/><Relationship Id="rId24" Type="http://schemas.openxmlformats.org/officeDocument/2006/relationships/image" Target="../media/image30.png"/><Relationship Id="rId5" Type="http://schemas.openxmlformats.org/officeDocument/2006/relationships/image" Target="../media/image11.png"/><Relationship Id="rId15" Type="http://schemas.openxmlformats.org/officeDocument/2006/relationships/image" Target="../media/image21.png"/><Relationship Id="rId23" Type="http://schemas.openxmlformats.org/officeDocument/2006/relationships/image" Target="../media/image29.png"/><Relationship Id="rId10" Type="http://schemas.openxmlformats.org/officeDocument/2006/relationships/image" Target="../media/image16.png"/><Relationship Id="rId19" Type="http://schemas.openxmlformats.org/officeDocument/2006/relationships/image" Target="../media/image25.png"/><Relationship Id="rId4" Type="http://schemas.openxmlformats.org/officeDocument/2006/relationships/image" Target="../media/image10.png"/><Relationship Id="rId9" Type="http://schemas.openxmlformats.org/officeDocument/2006/relationships/image" Target="../media/image15.png"/><Relationship Id="rId14" Type="http://schemas.openxmlformats.org/officeDocument/2006/relationships/image" Target="../media/image20.png"/><Relationship Id="rId22" Type="http://schemas.openxmlformats.org/officeDocument/2006/relationships/image" Target="../media/image28.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image" Target="../media/image34.png"/><Relationship Id="rId7" Type="http://schemas.openxmlformats.org/officeDocument/2006/relationships/image" Target="../media/image38.png"/><Relationship Id="rId2" Type="http://schemas.openxmlformats.org/officeDocument/2006/relationships/notesSlide" Target="../notesSlides/notesSlide3.xml"/><Relationship Id="rId1" Type="http://schemas.openxmlformats.org/officeDocument/2006/relationships/slideLayout" Target="../slideLayouts/slideLayout16.xml"/><Relationship Id="rId6" Type="http://schemas.openxmlformats.org/officeDocument/2006/relationships/image" Target="../media/image37.png"/><Relationship Id="rId11" Type="http://schemas.openxmlformats.org/officeDocument/2006/relationships/image" Target="../media/image42.png"/><Relationship Id="rId5" Type="http://schemas.openxmlformats.org/officeDocument/2006/relationships/image" Target="../media/image36.png"/><Relationship Id="rId10" Type="http://schemas.openxmlformats.org/officeDocument/2006/relationships/image" Target="../media/image41.png"/><Relationship Id="rId4" Type="http://schemas.openxmlformats.org/officeDocument/2006/relationships/image" Target="../media/image35.png"/><Relationship Id="rId9" Type="http://schemas.openxmlformats.org/officeDocument/2006/relationships/image" Target="../media/image40.png"/></Relationships>
</file>

<file path=ppt/slides/_rels/slide7.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43.tiff"/><Relationship Id="rId7" Type="http://schemas.openxmlformats.org/officeDocument/2006/relationships/image" Target="../media/image47.png"/><Relationship Id="rId2" Type="http://schemas.openxmlformats.org/officeDocument/2006/relationships/notesSlide" Target="../notesSlides/notesSlide4.xml"/><Relationship Id="rId1" Type="http://schemas.openxmlformats.org/officeDocument/2006/relationships/slideLayout" Target="../slideLayouts/slideLayout21.xml"/><Relationship Id="rId6" Type="http://schemas.openxmlformats.org/officeDocument/2006/relationships/image" Target="../media/image46.png"/><Relationship Id="rId5" Type="http://schemas.openxmlformats.org/officeDocument/2006/relationships/image" Target="../media/image45.tiff"/><Relationship Id="rId4" Type="http://schemas.openxmlformats.org/officeDocument/2006/relationships/image" Target="../media/image44.tiff"/></Relationships>
</file>

<file path=ppt/slides/_rels/slide8.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5.xml"/><Relationship Id="rId1" Type="http://schemas.openxmlformats.org/officeDocument/2006/relationships/slideLayout" Target="../slideLayouts/slideLayout20.xml"/><Relationship Id="rId4" Type="http://schemas.openxmlformats.org/officeDocument/2006/relationships/image" Target="../media/image50.png"/></Relationships>
</file>

<file path=ppt/slides/_rels/slide9.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6.xml"/><Relationship Id="rId1" Type="http://schemas.openxmlformats.org/officeDocument/2006/relationships/slideLayout" Target="../slideLayouts/slideLayout22.xml"/><Relationship Id="rId5" Type="http://schemas.openxmlformats.org/officeDocument/2006/relationships/chart" Target="../charts/chart1.xml"/><Relationship Id="rId4" Type="http://schemas.openxmlformats.org/officeDocument/2006/relationships/image" Target="../media/image5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0673F4A-903A-550B-2793-4887414CC51D}"/>
              </a:ext>
            </a:extLst>
          </p:cNvPr>
          <p:cNvSpPr>
            <a:spLocks noGrp="1"/>
          </p:cNvSpPr>
          <p:nvPr>
            <p:ph type="body" sz="quarter" idx="11"/>
          </p:nvPr>
        </p:nvSpPr>
        <p:spPr/>
        <p:txBody>
          <a:bodyPr/>
          <a:lstStyle/>
          <a:p>
            <a:r>
              <a:rPr lang="de-DE" dirty="0"/>
              <a:t>Manfred Berger Sr. Mgr. Business Development Platforms EMEAI</a:t>
            </a:r>
            <a:endParaRPr lang="en-US" dirty="0"/>
          </a:p>
        </p:txBody>
      </p:sp>
      <p:sp>
        <p:nvSpPr>
          <p:cNvPr id="3" name="Text Placeholder 2">
            <a:extLst>
              <a:ext uri="{FF2B5EF4-FFF2-40B4-BE49-F238E27FC236}">
                <a16:creationId xmlns:a16="http://schemas.microsoft.com/office/drawing/2014/main" id="{13E265CA-49BF-73F6-FE87-79DF037AF6CB}"/>
              </a:ext>
            </a:extLst>
          </p:cNvPr>
          <p:cNvSpPr>
            <a:spLocks noGrp="1"/>
          </p:cNvSpPr>
          <p:nvPr>
            <p:ph type="body" sz="quarter" idx="14"/>
          </p:nvPr>
        </p:nvSpPr>
        <p:spPr/>
        <p:txBody>
          <a:bodyPr/>
          <a:lstStyle/>
          <a:p>
            <a:r>
              <a:rPr lang="en-US" dirty="0"/>
              <a:t>October 11 2022</a:t>
            </a:r>
          </a:p>
        </p:txBody>
      </p:sp>
      <p:sp>
        <p:nvSpPr>
          <p:cNvPr id="4" name="Title 3">
            <a:extLst>
              <a:ext uri="{FF2B5EF4-FFF2-40B4-BE49-F238E27FC236}">
                <a16:creationId xmlns:a16="http://schemas.microsoft.com/office/drawing/2014/main" id="{C0BFDFE9-BE76-387B-58F5-A602284870D7}"/>
              </a:ext>
            </a:extLst>
          </p:cNvPr>
          <p:cNvSpPr>
            <a:spLocks noGrp="1"/>
          </p:cNvSpPr>
          <p:nvPr>
            <p:ph type="title"/>
          </p:nvPr>
        </p:nvSpPr>
        <p:spPr/>
        <p:txBody>
          <a:bodyPr/>
          <a:lstStyle/>
          <a:p>
            <a:r>
              <a:rPr lang="en-US" sz="10000" dirty="0"/>
              <a:t>WDC Ultrastar for </a:t>
            </a:r>
            <a:r>
              <a:rPr lang="en-US" sz="10000" dirty="0" err="1"/>
              <a:t>Ceph</a:t>
            </a:r>
            <a:r>
              <a:rPr lang="en-US" sz="10000" dirty="0"/>
              <a:t> Storage Solutions</a:t>
            </a:r>
          </a:p>
        </p:txBody>
      </p:sp>
      <p:sp>
        <p:nvSpPr>
          <p:cNvPr id="5" name="Text Placeholder 4">
            <a:extLst>
              <a:ext uri="{FF2B5EF4-FFF2-40B4-BE49-F238E27FC236}">
                <a16:creationId xmlns:a16="http://schemas.microsoft.com/office/drawing/2014/main" id="{4B6BA101-6FF7-8794-84AA-DEA95B5CBF29}"/>
              </a:ext>
            </a:extLst>
          </p:cNvPr>
          <p:cNvSpPr>
            <a:spLocks noGrp="1"/>
          </p:cNvSpPr>
          <p:nvPr>
            <p:ph type="body" sz="quarter" idx="15"/>
          </p:nvPr>
        </p:nvSpPr>
        <p:spPr/>
        <p:txBody>
          <a:bodyPr/>
          <a:lstStyle/>
          <a:p>
            <a:r>
              <a:rPr lang="de-DE" dirty="0" err="1"/>
              <a:t>October</a:t>
            </a:r>
            <a:r>
              <a:rPr lang="de-DE" dirty="0"/>
              <a:t> 11 2022</a:t>
            </a:r>
            <a:endParaRPr lang="en-US" dirty="0"/>
          </a:p>
        </p:txBody>
      </p:sp>
    </p:spTree>
    <p:extLst>
      <p:ext uri="{BB962C8B-B14F-4D97-AF65-F5344CB8AC3E}">
        <p14:creationId xmlns:p14="http://schemas.microsoft.com/office/powerpoint/2010/main" val="2264603917"/>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1132"/>
        <p:cNvGrpSpPr/>
        <p:nvPr/>
      </p:nvGrpSpPr>
      <p:grpSpPr>
        <a:xfrm>
          <a:off x="0" y="0"/>
          <a:ext cx="0" cy="0"/>
          <a:chOff x="0" y="0"/>
          <a:chExt cx="0" cy="0"/>
        </a:xfrm>
      </p:grpSpPr>
      <p:sp>
        <p:nvSpPr>
          <p:cNvPr id="4" name="Rectangle 3">
            <a:extLst>
              <a:ext uri="{FF2B5EF4-FFF2-40B4-BE49-F238E27FC236}">
                <a16:creationId xmlns:a16="http://schemas.microsoft.com/office/drawing/2014/main" id="{A825FD66-AC72-FE4F-98E7-116357D75D42}"/>
              </a:ext>
            </a:extLst>
          </p:cNvPr>
          <p:cNvSpPr/>
          <p:nvPr/>
        </p:nvSpPr>
        <p:spPr>
          <a:xfrm>
            <a:off x="1219199" y="1746563"/>
            <a:ext cx="8594652" cy="5025712"/>
          </a:xfrm>
          <a:prstGeom prst="rect">
            <a:avLst/>
          </a:prstGeom>
          <a:blipFill>
            <a:blip r:embed="rId3" cstate="screen">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58C437E0-503E-5349-9DCC-8D84A79F090B}"/>
              </a:ext>
            </a:extLst>
          </p:cNvPr>
          <p:cNvSpPr/>
          <p:nvPr/>
        </p:nvSpPr>
        <p:spPr>
          <a:xfrm>
            <a:off x="0" y="1746566"/>
            <a:ext cx="7549116" cy="5025710"/>
          </a:xfrm>
          <a:prstGeom prst="rect">
            <a:avLst/>
          </a:prstGeom>
          <a:gradFill flip="none" rotWithShape="1">
            <a:gsLst>
              <a:gs pos="35000">
                <a:schemeClr val="tx1"/>
              </a:gs>
              <a:gs pos="99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buClr>
                <a:srgbClr val="000000"/>
              </a:buClr>
              <a:defRPr/>
            </a:pPr>
            <a:endParaRPr lang="x-none" sz="1400" kern="0">
              <a:solidFill>
                <a:srgbClr val="FFFFFF"/>
              </a:solidFill>
              <a:latin typeface="Arial"/>
              <a:sym typeface="Arial"/>
            </a:endParaRPr>
          </a:p>
        </p:txBody>
      </p:sp>
      <p:sp>
        <p:nvSpPr>
          <p:cNvPr id="19" name="Rectangle 18">
            <a:extLst>
              <a:ext uri="{FF2B5EF4-FFF2-40B4-BE49-F238E27FC236}">
                <a16:creationId xmlns:a16="http://schemas.microsoft.com/office/drawing/2014/main" id="{19E67877-96EA-4067-B9ED-CD42BC2BDC47}"/>
              </a:ext>
            </a:extLst>
          </p:cNvPr>
          <p:cNvSpPr/>
          <p:nvPr/>
        </p:nvSpPr>
        <p:spPr>
          <a:xfrm>
            <a:off x="332927" y="1746565"/>
            <a:ext cx="886273" cy="502571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buClr>
                <a:srgbClr val="000000"/>
              </a:buClr>
              <a:defRPr/>
            </a:pPr>
            <a:endParaRPr lang="x-none" sz="1400" kern="0">
              <a:solidFill>
                <a:srgbClr val="FFFFFF"/>
              </a:solidFill>
              <a:latin typeface="Arial"/>
              <a:sym typeface="Arial"/>
            </a:endParaRPr>
          </a:p>
        </p:txBody>
      </p:sp>
      <p:sp>
        <p:nvSpPr>
          <p:cNvPr id="12" name="Rectangle 11">
            <a:extLst>
              <a:ext uri="{FF2B5EF4-FFF2-40B4-BE49-F238E27FC236}">
                <a16:creationId xmlns:a16="http://schemas.microsoft.com/office/drawing/2014/main" id="{FE9B462A-C033-D041-A7A7-303FFFAB6DAB}"/>
              </a:ext>
            </a:extLst>
          </p:cNvPr>
          <p:cNvSpPr/>
          <p:nvPr/>
        </p:nvSpPr>
        <p:spPr>
          <a:xfrm>
            <a:off x="6419849" y="1746564"/>
            <a:ext cx="5780333" cy="5025711"/>
          </a:xfrm>
          <a:prstGeom prst="rect">
            <a:avLst/>
          </a:prstGeom>
          <a:gradFill flip="none" rotWithShape="1">
            <a:gsLst>
              <a:gs pos="47000">
                <a:schemeClr val="tx1"/>
              </a:gs>
              <a:gs pos="100000">
                <a:schemeClr val="accent1">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70F5F4A-FFE8-EB42-B2E3-A8BEE8472620}"/>
              </a:ext>
            </a:extLst>
          </p:cNvPr>
          <p:cNvSpPr>
            <a:spLocks noGrp="1"/>
          </p:cNvSpPr>
          <p:nvPr>
            <p:ph type="title"/>
          </p:nvPr>
        </p:nvSpPr>
        <p:spPr/>
        <p:txBody>
          <a:bodyPr wrap="square" anchor="t"/>
          <a:lstStyle/>
          <a:p>
            <a:r>
              <a:rPr lang="en-US">
                <a:sym typeface="Verdana"/>
              </a:rPr>
              <a:t>Performance Gains on 22TB platform</a:t>
            </a:r>
            <a:endParaRPr lang="en-IL"/>
          </a:p>
        </p:txBody>
      </p:sp>
      <p:sp>
        <p:nvSpPr>
          <p:cNvPr id="16" name="Text Placeholder 3">
            <a:extLst>
              <a:ext uri="{FF2B5EF4-FFF2-40B4-BE49-F238E27FC236}">
                <a16:creationId xmlns:a16="http://schemas.microsoft.com/office/drawing/2014/main" id="{3F22D9BE-EC60-EC46-A262-AC52E884525F}"/>
              </a:ext>
            </a:extLst>
          </p:cNvPr>
          <p:cNvSpPr>
            <a:spLocks noGrp="1"/>
          </p:cNvSpPr>
          <p:nvPr>
            <p:ph type="body" sz="quarter" idx="12"/>
          </p:nvPr>
        </p:nvSpPr>
        <p:spPr/>
        <p:txBody>
          <a:bodyPr/>
          <a:lstStyle/>
          <a:p>
            <a:pPr marL="0" indent="0">
              <a:lnSpc>
                <a:spcPts val="2200"/>
              </a:lnSpc>
              <a:buClr>
                <a:srgbClr val="000000"/>
              </a:buClr>
              <a:buSzPts val="1100"/>
              <a:buNone/>
              <a:defRPr/>
            </a:pPr>
            <a:r>
              <a:rPr lang="en-US" dirty="0">
                <a:solidFill>
                  <a:schemeClr val="tx2">
                    <a:lumMod val="60000"/>
                    <a:lumOff val="40000"/>
                  </a:schemeClr>
                </a:solidFill>
                <a:latin typeface="Century Gothic" panose="020B0502020202020204" pitchFamily="34" charset="0"/>
                <a:sym typeface="Calibri"/>
              </a:rPr>
              <a:t>With </a:t>
            </a:r>
            <a:r>
              <a:rPr lang="en-US" dirty="0" err="1">
                <a:solidFill>
                  <a:schemeClr val="tx2">
                    <a:lumMod val="60000"/>
                    <a:lumOff val="40000"/>
                  </a:schemeClr>
                </a:solidFill>
                <a:latin typeface="Century Gothic" panose="020B0502020202020204" pitchFamily="34" charset="0"/>
                <a:sym typeface="Calibri"/>
              </a:rPr>
              <a:t>ArmorCache</a:t>
            </a:r>
            <a:r>
              <a:rPr lang="en-US" dirty="0">
                <a:solidFill>
                  <a:schemeClr val="tx2">
                    <a:lumMod val="60000"/>
                    <a:lumOff val="40000"/>
                  </a:schemeClr>
                </a:solidFill>
                <a:latin typeface="Century Gothic" panose="020B0502020202020204" pitchFamily="34" charset="0"/>
                <a:sym typeface="Calibri"/>
              </a:rPr>
              <a:t> feature</a:t>
            </a:r>
            <a:endParaRPr lang="en-US" sz="2400" b="1" dirty="0">
              <a:solidFill>
                <a:schemeClr val="tx2">
                  <a:lumMod val="60000"/>
                  <a:lumOff val="40000"/>
                </a:schemeClr>
              </a:solidFill>
              <a:latin typeface="Century Gothic" panose="020B0502020202020204" pitchFamily="34" charset="0"/>
              <a:sym typeface="Calibri"/>
            </a:endParaRPr>
          </a:p>
        </p:txBody>
      </p:sp>
      <p:pic>
        <p:nvPicPr>
          <p:cNvPr id="20" name="Picture 19" descr="A picture containing text, electronics, camera&#10;&#10;Description automatically generated">
            <a:extLst>
              <a:ext uri="{FF2B5EF4-FFF2-40B4-BE49-F238E27FC236}">
                <a16:creationId xmlns:a16="http://schemas.microsoft.com/office/drawing/2014/main" id="{E42D05D1-B61B-447C-8BC5-6F476ECE889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593153" y="1381150"/>
            <a:ext cx="2014891" cy="3049428"/>
          </a:xfrm>
          <a:prstGeom prst="rect">
            <a:avLst/>
          </a:prstGeom>
        </p:spPr>
      </p:pic>
      <p:graphicFrame>
        <p:nvGraphicFramePr>
          <p:cNvPr id="15" name="Chart 14">
            <a:extLst>
              <a:ext uri="{FF2B5EF4-FFF2-40B4-BE49-F238E27FC236}">
                <a16:creationId xmlns:a16="http://schemas.microsoft.com/office/drawing/2014/main" id="{D7CF50CF-C202-4D31-8CED-D7D61FB82EBF}"/>
              </a:ext>
            </a:extLst>
          </p:cNvPr>
          <p:cNvGraphicFramePr>
            <a:graphicFrameLocks/>
          </p:cNvGraphicFramePr>
          <p:nvPr>
            <p:extLst>
              <p:ext uri="{D42A27DB-BD31-4B8C-83A1-F6EECF244321}">
                <p14:modId xmlns:p14="http://schemas.microsoft.com/office/powerpoint/2010/main" val="79452033"/>
              </p:ext>
            </p:extLst>
          </p:nvPr>
        </p:nvGraphicFramePr>
        <p:xfrm>
          <a:off x="114820" y="1865136"/>
          <a:ext cx="6723303" cy="4877321"/>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500781369"/>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C27F2B8-F7D7-4462-B642-59EB195B1AEE}"/>
              </a:ext>
            </a:extLst>
          </p:cNvPr>
          <p:cNvSpPr>
            <a:spLocks noGrp="1"/>
          </p:cNvSpPr>
          <p:nvPr>
            <p:ph type="title"/>
          </p:nvPr>
        </p:nvSpPr>
        <p:spPr/>
        <p:txBody>
          <a:bodyPr/>
          <a:lstStyle/>
          <a:p>
            <a:r>
              <a:rPr lang="de-DE" dirty="0"/>
              <a:t>Ultrastar</a:t>
            </a:r>
            <a:r>
              <a:rPr lang="de-DE" sz="6000" baseline="100000" dirty="0"/>
              <a:t> TM</a:t>
            </a:r>
            <a:br>
              <a:rPr lang="de-DE" dirty="0"/>
            </a:br>
            <a:r>
              <a:rPr lang="de-DE" dirty="0"/>
              <a:t>Platform Portfolio</a:t>
            </a:r>
            <a:endParaRPr lang="en-US" dirty="0"/>
          </a:p>
        </p:txBody>
      </p:sp>
    </p:spTree>
    <p:extLst>
      <p:ext uri="{BB962C8B-B14F-4D97-AF65-F5344CB8AC3E}">
        <p14:creationId xmlns:p14="http://schemas.microsoft.com/office/powerpoint/2010/main" val="30137040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29"/>
          <p:cNvPicPr>
            <a:picLocks noChangeAspect="1"/>
          </p:cNvPicPr>
          <p:nvPr/>
        </p:nvPicPr>
        <p:blipFill>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979700" y="3311541"/>
            <a:ext cx="1205997" cy="1479357"/>
          </a:xfrm>
          <a:prstGeom prst="rect">
            <a:avLst/>
          </a:prstGeom>
        </p:spPr>
      </p:pic>
      <p:sp>
        <p:nvSpPr>
          <p:cNvPr id="2" name="Title 1">
            <a:extLst>
              <a:ext uri="{FF2B5EF4-FFF2-40B4-BE49-F238E27FC236}">
                <a16:creationId xmlns:a16="http://schemas.microsoft.com/office/drawing/2014/main" id="{959EBE5C-9D59-D04F-ADB2-7B052EC2B6C3}"/>
              </a:ext>
            </a:extLst>
          </p:cNvPr>
          <p:cNvSpPr>
            <a:spLocks noGrp="1"/>
          </p:cNvSpPr>
          <p:nvPr>
            <p:ph type="title"/>
          </p:nvPr>
        </p:nvSpPr>
        <p:spPr>
          <a:xfrm>
            <a:off x="274638" y="719720"/>
            <a:ext cx="11647487" cy="615027"/>
          </a:xfrm>
        </p:spPr>
        <p:txBody>
          <a:bodyPr/>
          <a:lstStyle/>
          <a:p>
            <a:r>
              <a:rPr lang="en-US" dirty="0"/>
              <a:t>Platforms Portfolio</a:t>
            </a:r>
          </a:p>
        </p:txBody>
      </p:sp>
      <p:sp>
        <p:nvSpPr>
          <p:cNvPr id="3" name="Text Placeholder 2">
            <a:extLst>
              <a:ext uri="{FF2B5EF4-FFF2-40B4-BE49-F238E27FC236}">
                <a16:creationId xmlns:a16="http://schemas.microsoft.com/office/drawing/2014/main" id="{71F697C5-8AB1-F241-A2DC-4F6A83D4A2F7}"/>
              </a:ext>
            </a:extLst>
          </p:cNvPr>
          <p:cNvSpPr>
            <a:spLocks noGrp="1"/>
          </p:cNvSpPr>
          <p:nvPr>
            <p:ph type="body" sz="quarter" idx="12"/>
          </p:nvPr>
        </p:nvSpPr>
        <p:spPr>
          <a:xfrm>
            <a:off x="274638" y="1336803"/>
            <a:ext cx="11647488" cy="409763"/>
          </a:xfrm>
        </p:spPr>
        <p:txBody>
          <a:bodyPr/>
          <a:lstStyle/>
          <a:p>
            <a:r>
              <a:rPr lang="en-US" dirty="0"/>
              <a:t>High Capacity, Performance and Flexibility</a:t>
            </a:r>
          </a:p>
        </p:txBody>
      </p:sp>
      <p:sp>
        <p:nvSpPr>
          <p:cNvPr id="4" name="TextBox 3">
            <a:extLst>
              <a:ext uri="{FF2B5EF4-FFF2-40B4-BE49-F238E27FC236}">
                <a16:creationId xmlns:a16="http://schemas.microsoft.com/office/drawing/2014/main" id="{8EA9C697-B081-8F43-881B-86EC90E2D96D}"/>
              </a:ext>
            </a:extLst>
          </p:cNvPr>
          <p:cNvSpPr txBox="1"/>
          <p:nvPr/>
        </p:nvSpPr>
        <p:spPr>
          <a:xfrm>
            <a:off x="527303" y="6099973"/>
            <a:ext cx="11259746"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300"/>
              </a:spcBef>
              <a:spcAft>
                <a:spcPts val="0"/>
              </a:spcAft>
              <a:buClrTx/>
              <a:buSzTx/>
              <a:buFontTx/>
              <a:buNone/>
              <a:tabLst/>
              <a:defRPr/>
            </a:pPr>
            <a:r>
              <a:rPr kumimoji="0" lang="en-US" sz="2000" b="1" i="0" u="none" strike="noStrike" kern="1200" cap="none" spc="0" normalizeH="0" baseline="0" noProof="0" dirty="0">
                <a:ln>
                  <a:noFill/>
                </a:ln>
                <a:solidFill>
                  <a:schemeClr val="tx2"/>
                </a:solidFill>
                <a:effectLst/>
                <a:uLnTx/>
                <a:uFillTx/>
                <a:ea typeface="Verdana" charset="0"/>
                <a:cs typeface="Verdana" charset="0"/>
              </a:rPr>
              <a:t>Solutions to access, transform, transport and preserve data</a:t>
            </a:r>
          </a:p>
        </p:txBody>
      </p:sp>
      <p:sp>
        <p:nvSpPr>
          <p:cNvPr id="5" name="Rounded Rectangle 27">
            <a:extLst>
              <a:ext uri="{FF2B5EF4-FFF2-40B4-BE49-F238E27FC236}">
                <a16:creationId xmlns:a16="http://schemas.microsoft.com/office/drawing/2014/main" id="{6F8BD064-A99B-D044-A4C0-DE74E2BD66F8}"/>
              </a:ext>
            </a:extLst>
          </p:cNvPr>
          <p:cNvSpPr/>
          <p:nvPr/>
        </p:nvSpPr>
        <p:spPr>
          <a:xfrm>
            <a:off x="479140" y="5373626"/>
            <a:ext cx="5804430" cy="360962"/>
          </a:xfrm>
          <a:prstGeom prst="roundRect">
            <a:avLst/>
          </a:prstGeom>
          <a:gradFill flip="none" rotWithShape="1">
            <a:gsLst>
              <a:gs pos="0">
                <a:schemeClr val="accent2"/>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ea typeface="+mn-ea"/>
                <a:cs typeface="+mn-cs"/>
              </a:rPr>
              <a:t>Ultrastar</a:t>
            </a:r>
            <a:r>
              <a:rPr kumimoji="0" lang="en-US" sz="1600" b="1" i="0" u="none" strike="noStrike" kern="1200" cap="none" spc="0" normalizeH="0" baseline="30000" noProof="0" dirty="0">
                <a:ln>
                  <a:noFill/>
                </a:ln>
                <a:solidFill>
                  <a:prstClr val="white"/>
                </a:solidFill>
                <a:effectLst/>
                <a:uLnTx/>
                <a:uFillTx/>
                <a:ea typeface="+mn-ea"/>
                <a:cs typeface="+mn-cs"/>
              </a:rPr>
              <a:t>®</a:t>
            </a:r>
          </a:p>
        </p:txBody>
      </p:sp>
      <p:pic>
        <p:nvPicPr>
          <p:cNvPr id="6" name="Picture 5">
            <a:extLst>
              <a:ext uri="{FF2B5EF4-FFF2-40B4-BE49-F238E27FC236}">
                <a16:creationId xmlns:a16="http://schemas.microsoft.com/office/drawing/2014/main" id="{82388331-7F46-C04A-9871-4DADDE24BACA}"/>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146725" y="4024676"/>
            <a:ext cx="1828800" cy="902316"/>
          </a:xfrm>
          <a:prstGeom prst="rect">
            <a:avLst/>
          </a:prstGeom>
        </p:spPr>
      </p:pic>
      <p:sp>
        <p:nvSpPr>
          <p:cNvPr id="7" name="TextBox 6">
            <a:extLst>
              <a:ext uri="{FF2B5EF4-FFF2-40B4-BE49-F238E27FC236}">
                <a16:creationId xmlns:a16="http://schemas.microsoft.com/office/drawing/2014/main" id="{90FDD0B7-4E7C-AA43-93D6-55263633C18E}"/>
              </a:ext>
            </a:extLst>
          </p:cNvPr>
          <p:cNvSpPr txBox="1"/>
          <p:nvPr/>
        </p:nvSpPr>
        <p:spPr>
          <a:xfrm>
            <a:off x="3590788" y="4895278"/>
            <a:ext cx="1556858"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ea typeface="+mn-ea"/>
                <a:cs typeface="+mn-cs"/>
              </a:rPr>
              <a:t>High-density  JBODs</a:t>
            </a:r>
          </a:p>
        </p:txBody>
      </p:sp>
      <p:pic>
        <p:nvPicPr>
          <p:cNvPr id="8" name="Picture 7">
            <a:extLst>
              <a:ext uri="{FF2B5EF4-FFF2-40B4-BE49-F238E27FC236}">
                <a16:creationId xmlns:a16="http://schemas.microsoft.com/office/drawing/2014/main" id="{481E2879-E1EC-244B-A3C6-388557B64512}"/>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3386416" y="3310141"/>
            <a:ext cx="1361923" cy="870738"/>
          </a:xfrm>
          <a:prstGeom prst="rect">
            <a:avLst/>
          </a:prstGeom>
        </p:spPr>
      </p:pic>
      <p:sp>
        <p:nvSpPr>
          <p:cNvPr id="9" name="Rounded Rectangle 35">
            <a:extLst>
              <a:ext uri="{FF2B5EF4-FFF2-40B4-BE49-F238E27FC236}">
                <a16:creationId xmlns:a16="http://schemas.microsoft.com/office/drawing/2014/main" id="{4D42462F-CCD0-BF45-8F63-A12D8021D1A8}"/>
              </a:ext>
            </a:extLst>
          </p:cNvPr>
          <p:cNvSpPr/>
          <p:nvPr/>
        </p:nvSpPr>
        <p:spPr>
          <a:xfrm>
            <a:off x="3157818" y="2594788"/>
            <a:ext cx="3125751" cy="47678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dirty="0">
                <a:solidFill>
                  <a:prstClr val="white"/>
                </a:solidFill>
              </a:rPr>
              <a:t>External HDD</a:t>
            </a:r>
            <a:endParaRPr kumimoji="0" lang="en-US" sz="1800" b="1" i="0" u="none" strike="noStrike" kern="1200" cap="none" spc="0" normalizeH="0" baseline="0" noProof="0" dirty="0">
              <a:ln>
                <a:noFill/>
              </a:ln>
              <a:solidFill>
                <a:prstClr val="white"/>
              </a:solidFill>
              <a:effectLst/>
              <a:uLnTx/>
              <a:uFillTx/>
            </a:endParaRPr>
          </a:p>
        </p:txBody>
      </p:sp>
      <p:sp>
        <p:nvSpPr>
          <p:cNvPr id="11" name="Rounded Rectangle 29">
            <a:extLst>
              <a:ext uri="{FF2B5EF4-FFF2-40B4-BE49-F238E27FC236}">
                <a16:creationId xmlns:a16="http://schemas.microsoft.com/office/drawing/2014/main" id="{A62D77AD-1A2A-454E-A47B-8B1673731493}"/>
              </a:ext>
            </a:extLst>
          </p:cNvPr>
          <p:cNvSpPr/>
          <p:nvPr/>
        </p:nvSpPr>
        <p:spPr>
          <a:xfrm>
            <a:off x="6374229" y="5371227"/>
            <a:ext cx="2833940" cy="36576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ea typeface="+mn-ea"/>
                <a:cs typeface="+mn-cs"/>
              </a:rPr>
              <a:t>OpenFlex™ </a:t>
            </a:r>
          </a:p>
        </p:txBody>
      </p:sp>
      <p:sp>
        <p:nvSpPr>
          <p:cNvPr id="14" name="Rounded Rectangle 37">
            <a:extLst>
              <a:ext uri="{FF2B5EF4-FFF2-40B4-BE49-F238E27FC236}">
                <a16:creationId xmlns:a16="http://schemas.microsoft.com/office/drawing/2014/main" id="{0E461523-7646-CE4C-8582-63F5101C578F}"/>
              </a:ext>
            </a:extLst>
          </p:cNvPr>
          <p:cNvSpPr/>
          <p:nvPr/>
        </p:nvSpPr>
        <p:spPr>
          <a:xfrm>
            <a:off x="6374228" y="2598229"/>
            <a:ext cx="5105400" cy="469898"/>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ea typeface="+mn-ea"/>
                <a:cs typeface="+mn-cs"/>
              </a:rPr>
              <a:t>Fabric Attached</a:t>
            </a:r>
          </a:p>
        </p:txBody>
      </p:sp>
      <p:sp>
        <p:nvSpPr>
          <p:cNvPr id="23" name="TextBox 22">
            <a:extLst>
              <a:ext uri="{FF2B5EF4-FFF2-40B4-BE49-F238E27FC236}">
                <a16:creationId xmlns:a16="http://schemas.microsoft.com/office/drawing/2014/main" id="{18E58C3F-EC7D-2C4C-B01D-2418D961110E}"/>
              </a:ext>
            </a:extLst>
          </p:cNvPr>
          <p:cNvSpPr txBox="1"/>
          <p:nvPr/>
        </p:nvSpPr>
        <p:spPr>
          <a:xfrm>
            <a:off x="444635" y="4885339"/>
            <a:ext cx="2603045"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rPr>
              <a:t>Data Transport an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rPr>
              <a:t>Ruggedized</a:t>
            </a:r>
            <a:r>
              <a:rPr lang="en-US" sz="1200" dirty="0">
                <a:solidFill>
                  <a:prstClr val="black"/>
                </a:solidFill>
              </a:rPr>
              <a:t>/Mil-Spec Edge Servers</a:t>
            </a:r>
            <a:endParaRPr kumimoji="0" lang="en-US" sz="1200" b="0" i="0" u="none" strike="noStrike" kern="1200" cap="none" spc="0" normalizeH="0" baseline="0" noProof="0" dirty="0">
              <a:ln>
                <a:noFill/>
              </a:ln>
              <a:solidFill>
                <a:prstClr val="black"/>
              </a:solidFill>
              <a:effectLst/>
              <a:uLnTx/>
              <a:uFillTx/>
            </a:endParaRPr>
          </a:p>
        </p:txBody>
      </p:sp>
      <p:sp>
        <p:nvSpPr>
          <p:cNvPr id="25" name="Rounded Rectangle 36">
            <a:extLst>
              <a:ext uri="{FF2B5EF4-FFF2-40B4-BE49-F238E27FC236}">
                <a16:creationId xmlns:a16="http://schemas.microsoft.com/office/drawing/2014/main" id="{0F90CD3F-EC2D-F641-8D03-65F202789F43}"/>
              </a:ext>
            </a:extLst>
          </p:cNvPr>
          <p:cNvSpPr/>
          <p:nvPr/>
        </p:nvSpPr>
        <p:spPr>
          <a:xfrm>
            <a:off x="479140" y="2599901"/>
            <a:ext cx="2588019" cy="466554"/>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ea typeface="+mn-ea"/>
                <a:cs typeface="+mn-cs"/>
              </a:rPr>
              <a:t>Specialized Servers</a:t>
            </a:r>
          </a:p>
        </p:txBody>
      </p:sp>
      <p:sp>
        <p:nvSpPr>
          <p:cNvPr id="26" name="Rounded Rectangle 29">
            <a:extLst>
              <a:ext uri="{FF2B5EF4-FFF2-40B4-BE49-F238E27FC236}">
                <a16:creationId xmlns:a16="http://schemas.microsoft.com/office/drawing/2014/main" id="{A62D77AD-1A2A-454E-A47B-8B1673731493}"/>
              </a:ext>
            </a:extLst>
          </p:cNvPr>
          <p:cNvSpPr/>
          <p:nvPr/>
        </p:nvSpPr>
        <p:spPr>
          <a:xfrm>
            <a:off x="9298827" y="5371227"/>
            <a:ext cx="2173863" cy="36576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ea typeface="+mn-ea"/>
                <a:cs typeface="+mn-cs"/>
              </a:rPr>
              <a:t>RapidFlex™</a:t>
            </a:r>
          </a:p>
        </p:txBody>
      </p:sp>
      <p:pic>
        <p:nvPicPr>
          <p:cNvPr id="28" name="Picture 2"/>
          <p:cNvPicPr>
            <a:picLocks noChangeAspect="1" noChangeArrowheads="1"/>
          </p:cNvPicPr>
          <p:nvPr/>
        </p:nvPicPr>
        <p:blipFill>
          <a:blip r:embed="rId6" cstate="screen">
            <a:extLst>
              <a:ext uri="{28A0092B-C50C-407E-A947-70E740481C1C}">
                <a14:useLocalDpi xmlns:a14="http://schemas.microsoft.com/office/drawing/2010/main"/>
              </a:ext>
            </a:extLst>
          </a:blip>
          <a:stretch>
            <a:fillRect/>
          </a:stretch>
        </p:blipFill>
        <p:spPr bwMode="auto">
          <a:xfrm rot="20945395">
            <a:off x="8886492" y="3463093"/>
            <a:ext cx="1371600" cy="700318"/>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025324" y="3907031"/>
            <a:ext cx="640080" cy="638700"/>
          </a:xfrm>
          <a:prstGeom prst="rect">
            <a:avLst/>
          </a:prstGeom>
        </p:spPr>
      </p:pic>
      <p:sp>
        <p:nvSpPr>
          <p:cNvPr id="31" name="TextBox 30">
            <a:extLst>
              <a:ext uri="{FF2B5EF4-FFF2-40B4-BE49-F238E27FC236}">
                <a16:creationId xmlns:a16="http://schemas.microsoft.com/office/drawing/2014/main" id="{3EBF9E0C-B374-2F4B-B479-EC292D4D14D6}"/>
              </a:ext>
            </a:extLst>
          </p:cNvPr>
          <p:cNvSpPr txBox="1"/>
          <p:nvPr/>
        </p:nvSpPr>
        <p:spPr>
          <a:xfrm>
            <a:off x="6924459" y="4977672"/>
            <a:ext cx="1911101"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ea typeface="+mn-ea"/>
                <a:cs typeface="+mn-cs"/>
              </a:rPr>
              <a:t>NVMe-oF attached JBOF</a:t>
            </a:r>
          </a:p>
        </p:txBody>
      </p:sp>
      <p:pic>
        <p:nvPicPr>
          <p:cNvPr id="32" name="Picture 31"/>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6869919" y="4191899"/>
            <a:ext cx="2011680" cy="617406"/>
          </a:xfrm>
          <a:prstGeom prst="rect">
            <a:avLst/>
          </a:prstGeom>
        </p:spPr>
      </p:pic>
      <p:pic>
        <p:nvPicPr>
          <p:cNvPr id="12" name="Picture 11" descr="A picture containing electronics, camera&#10;&#10;Description automatically generated">
            <a:extLst>
              <a:ext uri="{FF2B5EF4-FFF2-40B4-BE49-F238E27FC236}">
                <a16:creationId xmlns:a16="http://schemas.microsoft.com/office/drawing/2014/main" id="{DABC6A64-9B36-4C0D-B77E-6F579C7544B4}"/>
              </a:ext>
            </a:extLst>
          </p:cNvPr>
          <p:cNvPicPr>
            <a:picLocks noChangeAspect="1"/>
          </p:cNvPicPr>
          <p:nvPr/>
        </p:nvPicPr>
        <p:blipFill>
          <a:blip r:embed="rId9"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820568" y="3932282"/>
            <a:ext cx="1419216" cy="946144"/>
          </a:xfrm>
          <a:prstGeom prst="rect">
            <a:avLst/>
          </a:prstGeom>
        </p:spPr>
      </p:pic>
      <p:sp>
        <p:nvSpPr>
          <p:cNvPr id="27" name="TextBox 26">
            <a:extLst>
              <a:ext uri="{FF2B5EF4-FFF2-40B4-BE49-F238E27FC236}">
                <a16:creationId xmlns:a16="http://schemas.microsoft.com/office/drawing/2014/main" id="{08710860-AC04-4A18-9E87-3A7AAA1BE84D}"/>
              </a:ext>
            </a:extLst>
          </p:cNvPr>
          <p:cNvSpPr txBox="1"/>
          <p:nvPr/>
        </p:nvSpPr>
        <p:spPr>
          <a:xfrm>
            <a:off x="9388348" y="4977672"/>
            <a:ext cx="168507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ea typeface="+mn-ea"/>
                <a:cs typeface="+mn-cs"/>
              </a:rPr>
              <a:t>Fabric Bridge Devices</a:t>
            </a:r>
          </a:p>
        </p:txBody>
      </p:sp>
    </p:spTree>
    <p:extLst>
      <p:ext uri="{BB962C8B-B14F-4D97-AF65-F5344CB8AC3E}">
        <p14:creationId xmlns:p14="http://schemas.microsoft.com/office/powerpoint/2010/main" val="27421346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941832"/>
            <a:ext cx="11647487" cy="615027"/>
          </a:xfrm>
        </p:spPr>
        <p:txBody>
          <a:bodyPr/>
          <a:lstStyle/>
          <a:p>
            <a:r>
              <a:rPr lang="en-US" dirty="0"/>
              <a:t>Ultrastar</a:t>
            </a:r>
            <a:r>
              <a:rPr lang="en-US" baseline="30000" dirty="0"/>
              <a:t>®</a:t>
            </a:r>
            <a:r>
              <a:rPr lang="en-US" dirty="0"/>
              <a:t> Data60/102 Storage Platform</a:t>
            </a:r>
          </a:p>
        </p:txBody>
      </p:sp>
      <p:sp>
        <p:nvSpPr>
          <p:cNvPr id="16" name="Content Placeholder 15">
            <a:extLst>
              <a:ext uri="{FF2B5EF4-FFF2-40B4-BE49-F238E27FC236}">
                <a16:creationId xmlns:a16="http://schemas.microsoft.com/office/drawing/2014/main" id="{88E3EC1F-AA99-77D2-B5EE-710913543B30}"/>
              </a:ext>
            </a:extLst>
          </p:cNvPr>
          <p:cNvSpPr>
            <a:spLocks noGrp="1"/>
          </p:cNvSpPr>
          <p:nvPr>
            <p:ph sz="quarter" idx="11"/>
          </p:nvPr>
        </p:nvSpPr>
        <p:spPr>
          <a:xfrm>
            <a:off x="274638" y="2262700"/>
            <a:ext cx="11647486" cy="4278013"/>
          </a:xfrm>
        </p:spPr>
        <p:txBody>
          <a:bodyPr/>
          <a:lstStyle/>
          <a:p>
            <a:pPr>
              <a:spcAft>
                <a:spcPts val="600"/>
              </a:spcAft>
            </a:pPr>
            <a:endParaRPr lang="en-US" sz="2000" dirty="0"/>
          </a:p>
          <a:p>
            <a:pPr>
              <a:spcAft>
                <a:spcPts val="600"/>
              </a:spcAft>
            </a:pPr>
            <a:r>
              <a:rPr lang="en-US" sz="2000" dirty="0"/>
              <a:t>4U 60-bay and 4U 102-bay JBOD family:</a:t>
            </a:r>
          </a:p>
          <a:p>
            <a:pPr lvl="1">
              <a:spcAft>
                <a:spcPts val="600"/>
              </a:spcAft>
            </a:pPr>
            <a:r>
              <a:rPr lang="en-US" sz="1800" dirty="0"/>
              <a:t>Compact 4U60 with depth requirement of &lt;890mm</a:t>
            </a:r>
          </a:p>
          <a:p>
            <a:pPr lvl="1">
              <a:spcAft>
                <a:spcPts val="600"/>
              </a:spcAft>
            </a:pPr>
            <a:r>
              <a:rPr lang="en-US" sz="1800" dirty="0"/>
              <a:t>Dense 4U102 with over 2.2PB in 4U (22TB CMR HDDs)</a:t>
            </a:r>
          </a:p>
          <a:p>
            <a:pPr lvl="1">
              <a:spcAft>
                <a:spcPts val="600"/>
              </a:spcAft>
            </a:pPr>
            <a:r>
              <a:rPr lang="en-US" sz="1800" dirty="0"/>
              <a:t>Backed by a 5-year limited warranty with advance replacement</a:t>
            </a:r>
          </a:p>
          <a:p>
            <a:pPr>
              <a:spcAft>
                <a:spcPts val="600"/>
              </a:spcAft>
            </a:pPr>
            <a:r>
              <a:rPr lang="en-US" sz="2000" dirty="0"/>
              <a:t>Enterprise grade, big data storage use cases </a:t>
            </a:r>
          </a:p>
          <a:p>
            <a:pPr lvl="1">
              <a:spcAft>
                <a:spcPts val="600"/>
              </a:spcAft>
            </a:pPr>
            <a:r>
              <a:rPr lang="en-US" sz="1800" dirty="0"/>
              <a:t>Backup, archive, surveillance,</a:t>
            </a:r>
          </a:p>
          <a:p>
            <a:pPr lvl="1">
              <a:spcAft>
                <a:spcPts val="600"/>
              </a:spcAft>
            </a:pPr>
            <a:r>
              <a:rPr lang="en-US" sz="1800" dirty="0"/>
              <a:t>Disaggregated storage for SDS environments</a:t>
            </a:r>
          </a:p>
        </p:txBody>
      </p:sp>
      <p:grpSp>
        <p:nvGrpSpPr>
          <p:cNvPr id="5" name="Group 4">
            <a:extLst>
              <a:ext uri="{FF2B5EF4-FFF2-40B4-BE49-F238E27FC236}">
                <a16:creationId xmlns:a16="http://schemas.microsoft.com/office/drawing/2014/main" id="{BC830570-EC46-4469-B2CB-C13ABA68BBA9}"/>
              </a:ext>
            </a:extLst>
          </p:cNvPr>
          <p:cNvGrpSpPr/>
          <p:nvPr/>
        </p:nvGrpSpPr>
        <p:grpSpPr>
          <a:xfrm>
            <a:off x="8965096" y="3630065"/>
            <a:ext cx="3003720" cy="2863714"/>
            <a:chOff x="8854225" y="2585025"/>
            <a:chExt cx="2584727" cy="2423496"/>
          </a:xfrm>
        </p:grpSpPr>
        <p:pic>
          <p:nvPicPr>
            <p:cNvPr id="7" name="Picture 6"/>
            <p:cNvPicPr>
              <a:picLocks noChangeAspect="1"/>
            </p:cNvPicPr>
            <p:nvPr/>
          </p:nvPicPr>
          <p:blipFill>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rot="3613254">
              <a:off x="9815186" y="3556838"/>
              <a:ext cx="1165718" cy="1737648"/>
            </a:xfrm>
            <a:prstGeom prst="rect">
              <a:avLst/>
            </a:prstGeom>
          </p:spPr>
        </p:pic>
        <p:pic>
          <p:nvPicPr>
            <p:cNvPr id="8" name="Picture 7"/>
            <p:cNvPicPr>
              <a:picLocks noChangeAspect="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rot="3613254">
              <a:off x="9549378" y="1889872"/>
              <a:ext cx="1194421" cy="2584727"/>
            </a:xfrm>
            <a:prstGeom prst="rect">
              <a:avLst/>
            </a:prstGeom>
          </p:spPr>
        </p:pic>
      </p:grpSp>
      <p:pic>
        <p:nvPicPr>
          <p:cNvPr id="13" name="Picture 12" descr="A close-up of a computer&#10;&#10;Description automatically generated with low confidence">
            <a:extLst>
              <a:ext uri="{FF2B5EF4-FFF2-40B4-BE49-F238E27FC236}">
                <a16:creationId xmlns:a16="http://schemas.microsoft.com/office/drawing/2014/main" id="{939E14D1-8C8F-4DBE-9B9C-A93B45C2DF08}"/>
              </a:ext>
            </a:extLst>
          </p:cNvPr>
          <p:cNvPicPr>
            <a:picLocks noChangeAspect="1"/>
          </p:cNvPicPr>
          <p:nvPr/>
        </p:nvPicPr>
        <p:blipFill>
          <a:blip r:embed="rId5"/>
          <a:stretch>
            <a:fillRect/>
          </a:stretch>
        </p:blipFill>
        <p:spPr>
          <a:xfrm>
            <a:off x="5963262" y="655984"/>
            <a:ext cx="4615281" cy="4615281"/>
          </a:xfrm>
          <a:prstGeom prst="rect">
            <a:avLst/>
          </a:prstGeom>
        </p:spPr>
      </p:pic>
    </p:spTree>
    <p:extLst>
      <p:ext uri="{BB962C8B-B14F-4D97-AF65-F5344CB8AC3E}">
        <p14:creationId xmlns:p14="http://schemas.microsoft.com/office/powerpoint/2010/main" val="257790107"/>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941832"/>
            <a:ext cx="11647487" cy="615027"/>
          </a:xfrm>
        </p:spPr>
        <p:txBody>
          <a:bodyPr>
            <a:normAutofit/>
          </a:bodyPr>
          <a:lstStyle/>
          <a:p>
            <a:r>
              <a:rPr lang="en-US" dirty="0"/>
              <a:t>Ultrastar Data Family Innovation </a:t>
            </a:r>
            <a:r>
              <a:rPr lang="en-US" dirty="0" err="1"/>
              <a:t>IsoVibe</a:t>
            </a:r>
            <a:r>
              <a:rPr lang="en-US" sz="4800" dirty="0"/>
              <a:t>™</a:t>
            </a:r>
            <a:endParaRPr lang="en-US" dirty="0"/>
          </a:p>
        </p:txBody>
      </p:sp>
      <p:sp>
        <p:nvSpPr>
          <p:cNvPr id="3" name="Content Placeholder 2"/>
          <p:cNvSpPr>
            <a:spLocks noGrp="1"/>
          </p:cNvSpPr>
          <p:nvPr>
            <p:ph sz="quarter" idx="11"/>
          </p:nvPr>
        </p:nvSpPr>
        <p:spPr>
          <a:xfrm>
            <a:off x="205065" y="2242310"/>
            <a:ext cx="6912545" cy="4092575"/>
          </a:xfrm>
        </p:spPr>
        <p:txBody>
          <a:bodyPr vert="horz" lIns="0" tIns="0" rIns="0" bIns="0" rtlCol="0" anchor="t">
            <a:noAutofit/>
          </a:bodyPr>
          <a:lstStyle/>
          <a:p>
            <a:pPr>
              <a:spcAft>
                <a:spcPts val="600"/>
              </a:spcAft>
            </a:pPr>
            <a:r>
              <a:rPr lang="en-US" sz="2000" dirty="0" err="1"/>
              <a:t>IsoVibe</a:t>
            </a:r>
            <a:r>
              <a:rPr lang="en-US" sz="2000" dirty="0"/>
              <a:t> patented vibration isolation technology</a:t>
            </a:r>
          </a:p>
          <a:p>
            <a:pPr lvl="1">
              <a:spcAft>
                <a:spcPts val="600"/>
              </a:spcAft>
            </a:pPr>
            <a:r>
              <a:rPr lang="en-US" sz="1800" dirty="0"/>
              <a:t>Vibration Isolated HDD carrier/slot &amp; fans</a:t>
            </a:r>
          </a:p>
          <a:p>
            <a:pPr lvl="1">
              <a:spcAft>
                <a:spcPts val="600"/>
              </a:spcAft>
            </a:pPr>
            <a:r>
              <a:rPr lang="en-US" sz="1800" dirty="0"/>
              <a:t>Over 60% lower vibration</a:t>
            </a:r>
          </a:p>
          <a:p>
            <a:pPr lvl="1">
              <a:spcAft>
                <a:spcPts val="600"/>
              </a:spcAft>
            </a:pPr>
            <a:r>
              <a:rPr lang="en-US" sz="1800" dirty="0"/>
              <a:t>Stable Performance even under heavy load</a:t>
            </a:r>
          </a:p>
        </p:txBody>
      </p:sp>
      <p:grpSp>
        <p:nvGrpSpPr>
          <p:cNvPr id="6" name="Group 5">
            <a:extLst>
              <a:ext uri="{FF2B5EF4-FFF2-40B4-BE49-F238E27FC236}">
                <a16:creationId xmlns:a16="http://schemas.microsoft.com/office/drawing/2014/main" id="{F9DF260B-C175-4213-B000-E58CF76BF75E}"/>
              </a:ext>
            </a:extLst>
          </p:cNvPr>
          <p:cNvGrpSpPr/>
          <p:nvPr/>
        </p:nvGrpSpPr>
        <p:grpSpPr>
          <a:xfrm>
            <a:off x="7071444" y="2832540"/>
            <a:ext cx="4906743" cy="2812548"/>
            <a:chOff x="7111200" y="2176561"/>
            <a:chExt cx="4906743" cy="2812548"/>
          </a:xfrm>
        </p:grpSpPr>
        <p:sp>
          <p:nvSpPr>
            <p:cNvPr id="11" name="Arrow: Right 10">
              <a:extLst>
                <a:ext uri="{FF2B5EF4-FFF2-40B4-BE49-F238E27FC236}">
                  <a16:creationId xmlns:a16="http://schemas.microsoft.com/office/drawing/2014/main" id="{FD90142B-44F1-4D22-AB20-9F960D5384A4}"/>
                </a:ext>
              </a:extLst>
            </p:cNvPr>
            <p:cNvSpPr/>
            <p:nvPr/>
          </p:nvSpPr>
          <p:spPr>
            <a:xfrm>
              <a:off x="7111200" y="2176561"/>
              <a:ext cx="4906743" cy="2812548"/>
            </a:xfrm>
            <a:prstGeom prst="rightArrow">
              <a:avLst>
                <a:gd name="adj1" fmla="val 64804"/>
                <a:gd name="adj2" fmla="val 50000"/>
              </a:avLst>
            </a:prstGeom>
            <a:gradFill>
              <a:gsLst>
                <a:gs pos="0">
                  <a:srgbClr val="225686"/>
                </a:gs>
                <a:gs pos="50000">
                  <a:srgbClr val="225686"/>
                </a:gs>
                <a:gs pos="100000">
                  <a:srgbClr val="225686"/>
                </a:gs>
              </a:gsLst>
            </a:gradFill>
            <a:ln>
              <a:solidFill>
                <a:srgbClr val="00B0F0"/>
              </a:solidFill>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p>
          </p:txBody>
        </p:sp>
        <p:sp>
          <p:nvSpPr>
            <p:cNvPr id="12" name="Content Placeholder 7">
              <a:extLst>
                <a:ext uri="{FF2B5EF4-FFF2-40B4-BE49-F238E27FC236}">
                  <a16:creationId xmlns:a16="http://schemas.microsoft.com/office/drawing/2014/main" id="{777E214F-05DD-4C11-8406-EE9DB230F319}"/>
                </a:ext>
              </a:extLst>
            </p:cNvPr>
            <p:cNvSpPr txBox="1">
              <a:spLocks/>
            </p:cNvSpPr>
            <p:nvPr/>
          </p:nvSpPr>
          <p:spPr>
            <a:xfrm>
              <a:off x="8737995" y="2981050"/>
              <a:ext cx="2966325" cy="1292776"/>
            </a:xfrm>
            <a:prstGeom prst="rect">
              <a:avLst/>
            </a:prstGeom>
          </p:spPr>
          <p:txBody>
            <a:bodyPr vert="horz" lIns="0" tIns="0" rIns="0" bIns="0" rtlCol="0">
              <a:noAutofit/>
            </a:bodyPr>
            <a:lstStyle>
              <a:lvl1pPr marL="182875" indent="-182875" algn="l" defTabSz="1219170" rtl="0" eaLnBrk="1" latinLnBrk="0" hangingPunct="1">
                <a:lnSpc>
                  <a:spcPct val="95000"/>
                </a:lnSpc>
                <a:spcBef>
                  <a:spcPts val="1200"/>
                </a:spcBef>
                <a:buClr>
                  <a:schemeClr val="accent4"/>
                </a:buClr>
                <a:buFont typeface="Arial" panose="020B0604020202020204" pitchFamily="34" charset="0"/>
                <a:buChar char="•"/>
                <a:defRPr sz="2200" kern="1200">
                  <a:solidFill>
                    <a:schemeClr val="tx1"/>
                  </a:solidFill>
                  <a:latin typeface="+mn-lt"/>
                  <a:ea typeface="+mn-ea"/>
                  <a:cs typeface="+mn-cs"/>
                </a:defRPr>
              </a:lvl1pPr>
              <a:lvl2pPr marL="457200" indent="-223838" algn="l" defTabSz="1219170" rtl="0" eaLnBrk="1" latinLnBrk="0" hangingPunct="1">
                <a:lnSpc>
                  <a:spcPct val="95000"/>
                </a:lnSpc>
                <a:spcBef>
                  <a:spcPts val="400"/>
                </a:spcBef>
                <a:buClr>
                  <a:schemeClr val="accent4"/>
                </a:buClr>
                <a:buFont typeface="Arial" panose="020B0604020202020204" pitchFamily="34" charset="0"/>
                <a:buChar char="–"/>
                <a:defRPr sz="1800" kern="1200">
                  <a:solidFill>
                    <a:schemeClr val="tx1"/>
                  </a:solidFill>
                  <a:latin typeface="+mn-lt"/>
                  <a:ea typeface="+mn-ea"/>
                  <a:cs typeface="+mn-cs"/>
                </a:defRPr>
              </a:lvl2pPr>
              <a:lvl3pPr marL="630238" indent="-173038" algn="l" defTabSz="1219170" rtl="0" eaLnBrk="1" latinLnBrk="0" hangingPunct="1">
                <a:lnSpc>
                  <a:spcPct val="95000"/>
                </a:lnSpc>
                <a:spcBef>
                  <a:spcPts val="400"/>
                </a:spcBef>
                <a:buClr>
                  <a:schemeClr val="accent4"/>
                </a:buClr>
                <a:buFont typeface="Arial" panose="020B0604020202020204" pitchFamily="34" charset="0"/>
                <a:buChar char="•"/>
                <a:tabLst/>
                <a:defRPr sz="1600" kern="1200">
                  <a:solidFill>
                    <a:schemeClr val="tx1"/>
                  </a:solidFill>
                  <a:latin typeface="+mn-lt"/>
                  <a:ea typeface="+mn-ea"/>
                  <a:cs typeface="+mn-cs"/>
                </a:defRPr>
              </a:lvl3pPr>
              <a:lvl4pPr marL="854075" indent="-163513" algn="l" defTabSz="1219170" rtl="0" eaLnBrk="1" latinLnBrk="0" hangingPunct="1">
                <a:lnSpc>
                  <a:spcPct val="95000"/>
                </a:lnSpc>
                <a:spcBef>
                  <a:spcPts val="400"/>
                </a:spcBef>
                <a:buClr>
                  <a:schemeClr val="accent4"/>
                </a:buClr>
                <a:buFont typeface="Arial" panose="020B0604020202020204" pitchFamily="34" charset="0"/>
                <a:buChar char="–"/>
                <a:defRPr sz="1400" kern="1200">
                  <a:solidFill>
                    <a:schemeClr val="tx1"/>
                  </a:solidFill>
                  <a:latin typeface="+mn-lt"/>
                  <a:ea typeface="+mn-ea"/>
                  <a:cs typeface="+mn-cs"/>
                </a:defRPr>
              </a:lvl4pPr>
              <a:lvl5pPr marL="914377" indent="-182875" algn="l" defTabSz="1219170" rtl="0" eaLnBrk="1" latinLnBrk="0" hangingPunct="1">
                <a:lnSpc>
                  <a:spcPct val="95000"/>
                </a:lnSpc>
                <a:spcBef>
                  <a:spcPts val="400"/>
                </a:spcBef>
                <a:buFont typeface="Arial" panose="020B0604020202020204" pitchFamily="34" charset="0"/>
                <a:buChar char="»"/>
                <a:defRPr sz="1500" kern="1200">
                  <a:solidFill>
                    <a:schemeClr val="tx1"/>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a:lstStyle>
            <a:p>
              <a:pPr marL="233362" lvl="1" indent="0">
                <a:buClr>
                  <a:srgbClr val="DCC9B5"/>
                </a:buClr>
                <a:buNone/>
                <a:defRPr/>
              </a:pPr>
              <a:r>
                <a:rPr lang="en-US" sz="2400" b="1" dirty="0" err="1">
                  <a:solidFill>
                    <a:schemeClr val="bg1"/>
                  </a:solidFill>
                </a:rPr>
                <a:t>IsoVibe</a:t>
              </a:r>
              <a:r>
                <a:rPr lang="en-US" sz="2400" b="1" dirty="0">
                  <a:solidFill>
                    <a:schemeClr val="bg1"/>
                  </a:solidFill>
                </a:rPr>
                <a:t>™ </a:t>
              </a:r>
            </a:p>
            <a:p>
              <a:pPr lvl="1">
                <a:buClr>
                  <a:schemeClr val="bg1"/>
                </a:buClr>
                <a:buFont typeface="Arial" panose="020B0604020202020204" pitchFamily="34" charset="0"/>
                <a:buChar char="•"/>
                <a:defRPr/>
              </a:pPr>
              <a:r>
                <a:rPr lang="en-US" sz="1600" dirty="0">
                  <a:solidFill>
                    <a:schemeClr val="bg1"/>
                  </a:solidFill>
                  <a:latin typeface="Verdana"/>
                </a:rPr>
                <a:t>Less Vibration</a:t>
              </a:r>
            </a:p>
            <a:p>
              <a:pPr lvl="1">
                <a:buClr>
                  <a:schemeClr val="bg1"/>
                </a:buClr>
                <a:buFont typeface="Arial" panose="020B0604020202020204" pitchFamily="34" charset="0"/>
                <a:buChar char="•"/>
                <a:defRPr/>
              </a:pPr>
              <a:r>
                <a:rPr lang="en-US" sz="1600" dirty="0">
                  <a:solidFill>
                    <a:schemeClr val="bg1"/>
                  </a:solidFill>
                  <a:latin typeface="Verdana"/>
                </a:rPr>
                <a:t>Less Crosstalk</a:t>
              </a:r>
            </a:p>
            <a:p>
              <a:pPr lvl="1">
                <a:buClr>
                  <a:schemeClr val="bg1"/>
                </a:buClr>
                <a:buFont typeface="Arial" panose="020B0604020202020204" pitchFamily="34" charset="0"/>
                <a:buChar char="•"/>
                <a:defRPr/>
              </a:pPr>
              <a:r>
                <a:rPr lang="en-US" sz="1600" dirty="0">
                  <a:solidFill>
                    <a:schemeClr val="bg1"/>
                  </a:solidFill>
                  <a:latin typeface="Verdana"/>
                </a:rPr>
                <a:t>Stable Performance</a:t>
              </a:r>
            </a:p>
          </p:txBody>
        </p:sp>
      </p:grpSp>
      <p:pic>
        <p:nvPicPr>
          <p:cNvPr id="9" name="Picture 8">
            <a:extLst>
              <a:ext uri="{FF2B5EF4-FFF2-40B4-BE49-F238E27FC236}">
                <a16:creationId xmlns:a16="http://schemas.microsoft.com/office/drawing/2014/main" id="{B7CA21D3-0C0F-4229-88A7-6C8C0E49BD1E}"/>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5000"/>
                    </a14:imgEffect>
                  </a14:imgLayer>
                </a14:imgProps>
              </a:ext>
            </a:extLst>
          </a:blip>
          <a:stretch>
            <a:fillRect/>
          </a:stretch>
        </p:blipFill>
        <p:spPr>
          <a:xfrm rot="5400000">
            <a:off x="5247296" y="3033366"/>
            <a:ext cx="3865874" cy="2450659"/>
          </a:xfrm>
          <a:prstGeom prst="rect">
            <a:avLst/>
          </a:prstGeom>
        </p:spPr>
      </p:pic>
    </p:spTree>
    <p:extLst>
      <p:ext uri="{BB962C8B-B14F-4D97-AF65-F5344CB8AC3E}">
        <p14:creationId xmlns:p14="http://schemas.microsoft.com/office/powerpoint/2010/main" val="280446075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941832"/>
            <a:ext cx="11647487" cy="615027"/>
          </a:xfrm>
        </p:spPr>
        <p:txBody>
          <a:bodyPr>
            <a:normAutofit/>
          </a:bodyPr>
          <a:lstStyle/>
          <a:p>
            <a:r>
              <a:rPr lang="en-US" dirty="0"/>
              <a:t>Ultrastar Data Family Innovation </a:t>
            </a:r>
            <a:r>
              <a:rPr lang="en-US" dirty="0" err="1"/>
              <a:t>ArcticFlow</a:t>
            </a:r>
            <a:r>
              <a:rPr lang="en-US" sz="4800" dirty="0"/>
              <a:t> ™</a:t>
            </a:r>
            <a:endParaRPr lang="en-US" dirty="0"/>
          </a:p>
        </p:txBody>
      </p:sp>
      <p:sp>
        <p:nvSpPr>
          <p:cNvPr id="3" name="Content Placeholder 2"/>
          <p:cNvSpPr>
            <a:spLocks noGrp="1"/>
          </p:cNvSpPr>
          <p:nvPr>
            <p:ph sz="quarter" idx="11"/>
          </p:nvPr>
        </p:nvSpPr>
        <p:spPr>
          <a:xfrm>
            <a:off x="205065" y="2242310"/>
            <a:ext cx="6912545" cy="4092575"/>
          </a:xfrm>
        </p:spPr>
        <p:txBody>
          <a:bodyPr vert="horz" lIns="0" tIns="0" rIns="0" bIns="0" rtlCol="0" anchor="t">
            <a:noAutofit/>
          </a:bodyPr>
          <a:lstStyle/>
          <a:p>
            <a:pPr>
              <a:spcAft>
                <a:spcPts val="600"/>
              </a:spcAft>
            </a:pPr>
            <a:r>
              <a:rPr lang="en-US" sz="2000" dirty="0" err="1"/>
              <a:t>ArcticFlow</a:t>
            </a:r>
            <a:r>
              <a:rPr lang="en-US" sz="2000" dirty="0"/>
              <a:t> thermal zone cooling technology</a:t>
            </a:r>
          </a:p>
          <a:p>
            <a:pPr lvl="1">
              <a:spcAft>
                <a:spcPts val="600"/>
              </a:spcAft>
            </a:pPr>
            <a:r>
              <a:rPr lang="en-US" sz="1800" dirty="0"/>
              <a:t>Lower temperature, tighter thermal spread</a:t>
            </a:r>
          </a:p>
          <a:p>
            <a:pPr lvl="1">
              <a:spcAft>
                <a:spcPts val="600"/>
              </a:spcAft>
            </a:pPr>
            <a:r>
              <a:rPr lang="en-US" sz="1800" dirty="0"/>
              <a:t>Improved reliability</a:t>
            </a:r>
          </a:p>
          <a:p>
            <a:pPr lvl="1">
              <a:spcAft>
                <a:spcPts val="600"/>
              </a:spcAft>
            </a:pPr>
            <a:r>
              <a:rPr lang="en-US" sz="1800" dirty="0"/>
              <a:t>Overall energy saving</a:t>
            </a:r>
          </a:p>
        </p:txBody>
      </p:sp>
      <p:pic>
        <p:nvPicPr>
          <p:cNvPr id="12" name="Picture 11">
            <a:extLst>
              <a:ext uri="{FF2B5EF4-FFF2-40B4-BE49-F238E27FC236}">
                <a16:creationId xmlns:a16="http://schemas.microsoft.com/office/drawing/2014/main" id="{095BF92D-859C-4A47-AABA-3B52A275FE76}"/>
              </a:ext>
            </a:extLst>
          </p:cNvPr>
          <p:cNvPicPr>
            <a:picLocks noChangeAspect="1"/>
          </p:cNvPicPr>
          <p:nvPr/>
        </p:nvPicPr>
        <p:blipFill>
          <a:blip r:embed="rId3"/>
          <a:stretch>
            <a:fillRect/>
          </a:stretch>
        </p:blipFill>
        <p:spPr>
          <a:xfrm>
            <a:off x="403848" y="4069512"/>
            <a:ext cx="5340970" cy="2502462"/>
          </a:xfrm>
          <a:prstGeom prst="rect">
            <a:avLst/>
          </a:prstGeom>
        </p:spPr>
      </p:pic>
      <p:pic>
        <p:nvPicPr>
          <p:cNvPr id="14" name="Picture 13">
            <a:extLst>
              <a:ext uri="{FF2B5EF4-FFF2-40B4-BE49-F238E27FC236}">
                <a16:creationId xmlns:a16="http://schemas.microsoft.com/office/drawing/2014/main" id="{A1190D4F-3E49-4927-8A1D-79CE4921DE0D}"/>
              </a:ext>
            </a:extLst>
          </p:cNvPr>
          <p:cNvPicPr>
            <a:picLocks noChangeAspect="1"/>
          </p:cNvPicPr>
          <p:nvPr/>
        </p:nvPicPr>
        <p:blipFill>
          <a:blip r:embed="rId4"/>
          <a:stretch>
            <a:fillRect/>
          </a:stretch>
        </p:blipFill>
        <p:spPr>
          <a:xfrm>
            <a:off x="6951716" y="2325010"/>
            <a:ext cx="5194928" cy="1984329"/>
          </a:xfrm>
          <a:prstGeom prst="rect">
            <a:avLst/>
          </a:prstGeom>
        </p:spPr>
      </p:pic>
      <p:pic>
        <p:nvPicPr>
          <p:cNvPr id="16" name="Picture 15">
            <a:extLst>
              <a:ext uri="{FF2B5EF4-FFF2-40B4-BE49-F238E27FC236}">
                <a16:creationId xmlns:a16="http://schemas.microsoft.com/office/drawing/2014/main" id="{E45D9C6A-8A8F-4A82-8178-B8C723697D1D}"/>
              </a:ext>
            </a:extLst>
          </p:cNvPr>
          <p:cNvPicPr>
            <a:picLocks noChangeAspect="1"/>
          </p:cNvPicPr>
          <p:nvPr/>
        </p:nvPicPr>
        <p:blipFill>
          <a:blip r:embed="rId5"/>
          <a:stretch>
            <a:fillRect/>
          </a:stretch>
        </p:blipFill>
        <p:spPr>
          <a:xfrm>
            <a:off x="6949057" y="4344005"/>
            <a:ext cx="5200503" cy="1939737"/>
          </a:xfrm>
          <a:prstGeom prst="rect">
            <a:avLst/>
          </a:prstGeom>
        </p:spPr>
      </p:pic>
    </p:spTree>
    <p:extLst>
      <p:ext uri="{BB962C8B-B14F-4D97-AF65-F5344CB8AC3E}">
        <p14:creationId xmlns:p14="http://schemas.microsoft.com/office/powerpoint/2010/main" val="1394281857"/>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941832"/>
            <a:ext cx="11647487" cy="615027"/>
          </a:xfrm>
        </p:spPr>
        <p:txBody>
          <a:bodyPr>
            <a:normAutofit/>
          </a:bodyPr>
          <a:lstStyle/>
          <a:p>
            <a:r>
              <a:rPr lang="en-US" dirty="0"/>
              <a:t>Ultrastar Data Family Serviceability</a:t>
            </a:r>
          </a:p>
        </p:txBody>
      </p:sp>
      <p:pic>
        <p:nvPicPr>
          <p:cNvPr id="17" name="Picture 16">
            <a:extLst>
              <a:ext uri="{FF2B5EF4-FFF2-40B4-BE49-F238E27FC236}">
                <a16:creationId xmlns:a16="http://schemas.microsoft.com/office/drawing/2014/main" id="{DAC62BFD-B9F9-4A81-9E0F-94EC8336D111}"/>
              </a:ext>
            </a:extLst>
          </p:cNvPr>
          <p:cNvPicPr>
            <a:picLocks noChangeAspect="1"/>
          </p:cNvPicPr>
          <p:nvPr/>
        </p:nvPicPr>
        <p:blipFill>
          <a:blip r:embed="rId3"/>
          <a:stretch>
            <a:fillRect/>
          </a:stretch>
        </p:blipFill>
        <p:spPr>
          <a:xfrm>
            <a:off x="4354214" y="3732357"/>
            <a:ext cx="496541" cy="776040"/>
          </a:xfrm>
          <a:prstGeom prst="rect">
            <a:avLst/>
          </a:prstGeom>
        </p:spPr>
      </p:pic>
      <p:pic>
        <p:nvPicPr>
          <p:cNvPr id="18" name="Picture 17">
            <a:extLst>
              <a:ext uri="{FF2B5EF4-FFF2-40B4-BE49-F238E27FC236}">
                <a16:creationId xmlns:a16="http://schemas.microsoft.com/office/drawing/2014/main" id="{FFE7523C-B0ED-4194-BD14-C122F4E2E1A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044737" y="2533784"/>
            <a:ext cx="4358824" cy="3960785"/>
          </a:xfrm>
          <a:prstGeom prst="rect">
            <a:avLst/>
          </a:prstGeom>
        </p:spPr>
      </p:pic>
      <p:sp>
        <p:nvSpPr>
          <p:cNvPr id="19" name="Content Placeholder 10">
            <a:extLst>
              <a:ext uri="{FF2B5EF4-FFF2-40B4-BE49-F238E27FC236}">
                <a16:creationId xmlns:a16="http://schemas.microsoft.com/office/drawing/2014/main" id="{806AAAD3-1646-460C-B685-9153CC02383A}"/>
              </a:ext>
            </a:extLst>
          </p:cNvPr>
          <p:cNvSpPr txBox="1">
            <a:spLocks/>
          </p:cNvSpPr>
          <p:nvPr/>
        </p:nvSpPr>
        <p:spPr>
          <a:xfrm>
            <a:off x="472440" y="2067337"/>
            <a:ext cx="9161958" cy="4735919"/>
          </a:xfrm>
          <a:prstGeom prst="rect">
            <a:avLst/>
          </a:prstGeom>
        </p:spPr>
        <p:txBody>
          <a:bodyPr/>
          <a:lstStyle>
            <a:lvl1pPr marL="274320" indent="-274320" algn="l" defTabSz="914400" rtl="0" eaLnBrk="1" latinLnBrk="0" hangingPunct="1">
              <a:lnSpc>
                <a:spcPct val="100000"/>
              </a:lnSpc>
              <a:spcBef>
                <a:spcPts val="0"/>
              </a:spcBef>
              <a:spcAft>
                <a:spcPts val="1000"/>
              </a:spcAft>
              <a:buClrTx/>
              <a:buSzPct val="100000"/>
              <a:buFont typeface="Arial" panose="020B0604020202020204" pitchFamily="34" charset="0"/>
              <a:buChar char="•"/>
              <a:defRPr sz="2400" b="0" i="0" kern="1200">
                <a:solidFill>
                  <a:schemeClr val="tx1"/>
                </a:solidFill>
                <a:latin typeface="+mn-lt"/>
                <a:ea typeface="+mn-ea"/>
                <a:cs typeface="+mn-cs"/>
              </a:defRPr>
            </a:lvl1pPr>
            <a:lvl2pPr marL="548640" indent="-274320" algn="l" defTabSz="914400" rtl="0" eaLnBrk="1" latinLnBrk="0" hangingPunct="1">
              <a:lnSpc>
                <a:spcPct val="100000"/>
              </a:lnSpc>
              <a:spcBef>
                <a:spcPts val="0"/>
              </a:spcBef>
              <a:spcAft>
                <a:spcPts val="1000"/>
              </a:spcAft>
              <a:buClrTx/>
              <a:buSzPct val="100000"/>
              <a:buFont typeface="Arial" panose="020B0604020202020204" pitchFamily="34" charset="0"/>
              <a:buChar char="•"/>
              <a:defRPr sz="2400" b="0" i="0" kern="1200">
                <a:solidFill>
                  <a:schemeClr val="tx1"/>
                </a:solidFill>
                <a:latin typeface="+mn-lt"/>
                <a:ea typeface="+mn-ea"/>
                <a:cs typeface="+mn-cs"/>
              </a:defRPr>
            </a:lvl2pPr>
            <a:lvl3pPr marL="822960" indent="-274320" algn="l" defTabSz="914400" rtl="0" eaLnBrk="1" latinLnBrk="0" hangingPunct="1">
              <a:lnSpc>
                <a:spcPct val="100000"/>
              </a:lnSpc>
              <a:spcBef>
                <a:spcPts val="0"/>
              </a:spcBef>
              <a:spcAft>
                <a:spcPts val="1000"/>
              </a:spcAft>
              <a:buClrTx/>
              <a:buSzPct val="100000"/>
              <a:buFont typeface="Arial" panose="020B0604020202020204" pitchFamily="34" charset="0"/>
              <a:buChar char="•"/>
              <a:defRPr sz="2400" b="0" i="0" kern="1200">
                <a:solidFill>
                  <a:schemeClr val="tx1"/>
                </a:solidFill>
                <a:latin typeface="+mn-lt"/>
                <a:ea typeface="+mn-ea"/>
                <a:cs typeface="+mn-cs"/>
              </a:defRPr>
            </a:lvl3pPr>
            <a:lvl4pPr marL="1097280" indent="-274320" algn="l" defTabSz="914400" rtl="0" eaLnBrk="1" latinLnBrk="0" hangingPunct="1">
              <a:lnSpc>
                <a:spcPct val="100000"/>
              </a:lnSpc>
              <a:spcBef>
                <a:spcPts val="0"/>
              </a:spcBef>
              <a:spcAft>
                <a:spcPts val="1000"/>
              </a:spcAft>
              <a:buClrTx/>
              <a:buSzPct val="100000"/>
              <a:buFont typeface="Arial" panose="020B0604020202020204" pitchFamily="34" charset="0"/>
              <a:buChar char="•"/>
              <a:defRPr sz="2000" b="0" i="0" kern="1200">
                <a:solidFill>
                  <a:schemeClr val="tx1"/>
                </a:solidFill>
                <a:latin typeface="+mn-lt"/>
                <a:ea typeface="+mn-ea"/>
                <a:cs typeface="+mn-cs"/>
              </a:defRPr>
            </a:lvl4pPr>
            <a:lvl5pPr marL="1371600" indent="-274320" algn="l" defTabSz="914400" rtl="0" eaLnBrk="1" latinLnBrk="0" hangingPunct="1">
              <a:lnSpc>
                <a:spcPct val="100000"/>
              </a:lnSpc>
              <a:spcBef>
                <a:spcPts val="0"/>
              </a:spcBef>
              <a:spcAft>
                <a:spcPts val="1000"/>
              </a:spcAft>
              <a:buClrTx/>
              <a:buSzPct val="100000"/>
              <a:buFont typeface="Arial" panose="020B0604020202020204" pitchFamily="34" charset="0"/>
              <a:buChar char="•"/>
              <a:defRPr sz="2000" b="0" i="0" kern="1200">
                <a:solidFill>
                  <a:schemeClr val="tx1"/>
                </a:solidFill>
                <a:latin typeface="+mn-lt"/>
                <a:ea typeface="+mn-ea"/>
                <a:cs typeface="+mn-cs"/>
                <a:sym typeface="Wingdings" pitchFamily="2" charset="2"/>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600" b="1" dirty="0">
                <a:solidFill>
                  <a:schemeClr val="accent1"/>
                </a:solidFill>
              </a:rPr>
              <a:t>Cold Aisle Service</a:t>
            </a:r>
          </a:p>
          <a:p>
            <a:pPr marL="341313" lvl="1"/>
            <a:r>
              <a:rPr lang="en-US" sz="1800" dirty="0"/>
              <a:t>Center /CPU Fan (JBOD or Serv60+8)</a:t>
            </a:r>
          </a:p>
          <a:p>
            <a:pPr marL="341313" lvl="1"/>
            <a:r>
              <a:rPr lang="en-US" sz="1800" dirty="0"/>
              <a:t>SSDs (Serv60+8 only)</a:t>
            </a:r>
          </a:p>
          <a:p>
            <a:pPr marL="341313" lvl="1"/>
            <a:r>
              <a:rPr lang="en-US" sz="1800" dirty="0"/>
              <a:t>IO-Module (ESM)</a:t>
            </a:r>
          </a:p>
          <a:p>
            <a:pPr marL="341313" lvl="1"/>
            <a:r>
              <a:rPr lang="en-US" sz="1800" dirty="0"/>
              <a:t>HDDs &amp; SSDs</a:t>
            </a:r>
          </a:p>
          <a:p>
            <a:pPr marL="0" indent="0">
              <a:buFont typeface="Arial" panose="020B0604020202020204" pitchFamily="34" charset="0"/>
              <a:buNone/>
            </a:pPr>
            <a:endParaRPr lang="en-US" sz="1600" b="1" dirty="0">
              <a:solidFill>
                <a:schemeClr val="accent1"/>
              </a:solidFill>
            </a:endParaRPr>
          </a:p>
          <a:p>
            <a:pPr marL="0" indent="0">
              <a:buFont typeface="Arial" panose="020B0604020202020204" pitchFamily="34" charset="0"/>
              <a:buNone/>
            </a:pPr>
            <a:r>
              <a:rPr lang="en-US" sz="1600" b="1" dirty="0">
                <a:solidFill>
                  <a:schemeClr val="accent1"/>
                </a:solidFill>
              </a:rPr>
              <a:t>General Handling</a:t>
            </a:r>
          </a:p>
          <a:p>
            <a:pPr marL="341313" lvl="1"/>
            <a:r>
              <a:rPr lang="en-US" sz="1800" dirty="0"/>
              <a:t>Lid stays inside rack</a:t>
            </a:r>
          </a:p>
          <a:p>
            <a:pPr marL="341313" lvl="1"/>
            <a:r>
              <a:rPr lang="en-US" sz="1800" dirty="0"/>
              <a:t>Handles unlatch unit to pull out</a:t>
            </a:r>
          </a:p>
          <a:p>
            <a:pPr marL="341313" lvl="1"/>
            <a:r>
              <a:rPr lang="en-US" sz="1800" dirty="0"/>
              <a:t>No tools required</a:t>
            </a:r>
          </a:p>
          <a:p>
            <a:pPr marL="341313" lvl="1"/>
            <a:r>
              <a:rPr lang="en-US" sz="1800" dirty="0"/>
              <a:t>Chassis status indicated by front LED</a:t>
            </a:r>
          </a:p>
          <a:p>
            <a:pPr marL="341313" lvl="1"/>
            <a:r>
              <a:rPr lang="en-US" sz="1800" dirty="0"/>
              <a:t>HDD/SSD status indicated by </a:t>
            </a:r>
            <a:r>
              <a:rPr lang="en-US" sz="1600" dirty="0"/>
              <a:t>LED(s)</a:t>
            </a:r>
          </a:p>
        </p:txBody>
      </p:sp>
      <p:pic>
        <p:nvPicPr>
          <p:cNvPr id="20" name="Picture 19">
            <a:extLst>
              <a:ext uri="{FF2B5EF4-FFF2-40B4-BE49-F238E27FC236}">
                <a16:creationId xmlns:a16="http://schemas.microsoft.com/office/drawing/2014/main" id="{767B4C53-2C61-4140-99F1-CD20FE17550B}"/>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66128" y="2231308"/>
            <a:ext cx="619768" cy="770490"/>
          </a:xfrm>
          <a:prstGeom prst="rect">
            <a:avLst/>
          </a:prstGeom>
        </p:spPr>
      </p:pic>
      <p:pic>
        <p:nvPicPr>
          <p:cNvPr id="21" name="Picture 20">
            <a:extLst>
              <a:ext uri="{FF2B5EF4-FFF2-40B4-BE49-F238E27FC236}">
                <a16:creationId xmlns:a16="http://schemas.microsoft.com/office/drawing/2014/main" id="{542F5AA0-1955-4723-80BE-0D1DF1B5B583}"/>
              </a:ext>
            </a:extLst>
          </p:cNvPr>
          <p:cNvPicPr>
            <a:picLocks noChangeAspect="1"/>
          </p:cNvPicPr>
          <p:nvPr/>
        </p:nvPicPr>
        <p:blipFill>
          <a:blip r:embed="rId6" cstate="email">
            <a:extLst>
              <a:ext uri="{BEBA8EAE-BF5A-486C-A8C5-ECC9F3942E4B}">
                <a14:imgProps xmlns:a14="http://schemas.microsoft.com/office/drawing/2010/main">
                  <a14:imgLayer r:embed="rId7">
                    <a14:imgEffect>
                      <a14:backgroundRemoval t="1053" b="96842" l="5882" r="94118"/>
                    </a14:imgEffect>
                  </a14:imgLayer>
                </a14:imgProps>
              </a:ext>
              <a:ext uri="{28A0092B-C50C-407E-A947-70E740481C1C}">
                <a14:useLocalDpi xmlns:a14="http://schemas.microsoft.com/office/drawing/2010/main"/>
              </a:ext>
            </a:extLst>
          </a:blip>
          <a:stretch>
            <a:fillRect/>
          </a:stretch>
        </p:blipFill>
        <p:spPr>
          <a:xfrm>
            <a:off x="5873176" y="2892609"/>
            <a:ext cx="477890" cy="672095"/>
          </a:xfrm>
          <a:prstGeom prst="rect">
            <a:avLst/>
          </a:prstGeom>
        </p:spPr>
      </p:pic>
      <p:pic>
        <p:nvPicPr>
          <p:cNvPr id="22" name="Picture 21">
            <a:extLst>
              <a:ext uri="{FF2B5EF4-FFF2-40B4-BE49-F238E27FC236}">
                <a16:creationId xmlns:a16="http://schemas.microsoft.com/office/drawing/2014/main" id="{5948198B-2EFD-4EDA-BF5B-C3AC3D0CC282}"/>
              </a:ext>
            </a:extLst>
          </p:cNvPr>
          <p:cNvPicPr>
            <a:picLocks noChangeAspect="1"/>
          </p:cNvPicPr>
          <p:nvPr/>
        </p:nvPicPr>
        <p:blipFill>
          <a:blip r:embed="rId8" cstate="email">
            <a:extLst>
              <a:ext uri="{BEBA8EAE-BF5A-486C-A8C5-ECC9F3942E4B}">
                <a14:imgProps xmlns:a14="http://schemas.microsoft.com/office/drawing/2010/main">
                  <a14:imgLayer r:embed="rId9">
                    <a14:imgEffect>
                      <a14:backgroundRemoval t="2105" b="95789" l="7143" r="95918"/>
                    </a14:imgEffect>
                  </a14:imgLayer>
                </a14:imgProps>
              </a:ext>
              <a:ext uri="{28A0092B-C50C-407E-A947-70E740481C1C}">
                <a14:useLocalDpi xmlns:a14="http://schemas.microsoft.com/office/drawing/2010/main"/>
              </a:ext>
            </a:extLst>
          </a:blip>
          <a:stretch>
            <a:fillRect/>
          </a:stretch>
        </p:blipFill>
        <p:spPr>
          <a:xfrm>
            <a:off x="4884237" y="3248781"/>
            <a:ext cx="827272" cy="802988"/>
          </a:xfrm>
          <a:prstGeom prst="rect">
            <a:avLst/>
          </a:prstGeom>
        </p:spPr>
      </p:pic>
      <p:sp>
        <p:nvSpPr>
          <p:cNvPr id="23" name="Content Placeholder 4">
            <a:extLst>
              <a:ext uri="{FF2B5EF4-FFF2-40B4-BE49-F238E27FC236}">
                <a16:creationId xmlns:a16="http://schemas.microsoft.com/office/drawing/2014/main" id="{5AA50BFF-26A2-451E-99AA-FCA6C2A4B3C0}"/>
              </a:ext>
            </a:extLst>
          </p:cNvPr>
          <p:cNvSpPr txBox="1">
            <a:spLocks/>
          </p:cNvSpPr>
          <p:nvPr/>
        </p:nvSpPr>
        <p:spPr>
          <a:xfrm>
            <a:off x="472440" y="3819683"/>
            <a:ext cx="4780691" cy="2325035"/>
          </a:xfrm>
          <a:prstGeom prst="rect">
            <a:avLst/>
          </a:prstGeom>
        </p:spPr>
        <p:txBody>
          <a:bodyPr vert="horz" lIns="0" tIns="0" rIns="0" bIns="0" rtlCol="0">
            <a:noAutofit/>
          </a:bodyPr>
          <a:lstStyle>
            <a:lvl1pPr marL="182875" indent="-182875" algn="l" defTabSz="1219170" rtl="0" eaLnBrk="1" latinLnBrk="0" hangingPunct="1">
              <a:lnSpc>
                <a:spcPct val="95000"/>
              </a:lnSpc>
              <a:spcBef>
                <a:spcPts val="1200"/>
              </a:spcBef>
              <a:buClr>
                <a:schemeClr val="accent4"/>
              </a:buClr>
              <a:buFont typeface="Arial" panose="020B0604020202020204" pitchFamily="34" charset="0"/>
              <a:buChar char="•"/>
              <a:defRPr sz="2200" kern="1200">
                <a:solidFill>
                  <a:schemeClr val="accent1"/>
                </a:solidFill>
                <a:latin typeface="+mn-lt"/>
                <a:ea typeface="+mn-ea"/>
                <a:cs typeface="+mn-cs"/>
              </a:defRPr>
            </a:lvl1pPr>
            <a:lvl2pPr marL="457200" indent="-228600" algn="l" defTabSz="1219170" rtl="0" eaLnBrk="1" latinLnBrk="0" hangingPunct="1">
              <a:lnSpc>
                <a:spcPct val="95000"/>
              </a:lnSpc>
              <a:spcBef>
                <a:spcPts val="400"/>
              </a:spcBef>
              <a:buClr>
                <a:schemeClr val="accent4"/>
              </a:buClr>
              <a:buFont typeface="Arial" panose="020B0604020202020204" pitchFamily="34" charset="0"/>
              <a:buChar char="–"/>
              <a:tabLst/>
              <a:defRPr sz="1800" kern="1200">
                <a:solidFill>
                  <a:schemeClr val="tx1"/>
                </a:solidFill>
                <a:latin typeface="+mn-lt"/>
                <a:ea typeface="+mn-ea"/>
                <a:cs typeface="+mn-cs"/>
              </a:defRPr>
            </a:lvl2pPr>
            <a:lvl3pPr marL="630238" indent="-173038" algn="l" defTabSz="1219170" rtl="0" eaLnBrk="1" latinLnBrk="0" hangingPunct="1">
              <a:lnSpc>
                <a:spcPct val="95000"/>
              </a:lnSpc>
              <a:spcBef>
                <a:spcPts val="400"/>
              </a:spcBef>
              <a:buClr>
                <a:schemeClr val="accent4"/>
              </a:buClr>
              <a:buFont typeface="Arial" panose="020B0604020202020204" pitchFamily="34" charset="0"/>
              <a:buChar char="•"/>
              <a:defRPr sz="1600" kern="1200">
                <a:solidFill>
                  <a:schemeClr val="tx1"/>
                </a:solidFill>
                <a:latin typeface="+mn-lt"/>
                <a:ea typeface="+mn-ea"/>
                <a:cs typeface="+mn-cs"/>
              </a:defRPr>
            </a:lvl3pPr>
            <a:lvl4pPr marL="854075" indent="-163513" algn="l" defTabSz="1219170" rtl="0" eaLnBrk="1" latinLnBrk="0" hangingPunct="1">
              <a:lnSpc>
                <a:spcPct val="95000"/>
              </a:lnSpc>
              <a:spcBef>
                <a:spcPts val="400"/>
              </a:spcBef>
              <a:buClr>
                <a:schemeClr val="accent4"/>
              </a:buClr>
              <a:buFont typeface="Arial" panose="020B0604020202020204" pitchFamily="34" charset="0"/>
              <a:buChar char="–"/>
              <a:defRPr sz="1400" kern="1200">
                <a:solidFill>
                  <a:schemeClr val="tx1"/>
                </a:solidFill>
                <a:latin typeface="+mn-lt"/>
                <a:ea typeface="+mn-ea"/>
                <a:cs typeface="+mn-cs"/>
              </a:defRPr>
            </a:lvl4pPr>
            <a:lvl5pPr marL="914377" indent="-182875" algn="l" defTabSz="1219170" rtl="0" eaLnBrk="1" latinLnBrk="0" hangingPunct="1">
              <a:spcBef>
                <a:spcPts val="0"/>
              </a:spcBef>
              <a:buFont typeface="Arial" panose="020B0604020202020204" pitchFamily="34" charset="0"/>
              <a:buChar char="»"/>
              <a:defRPr sz="1500" kern="1200">
                <a:solidFill>
                  <a:schemeClr val="tx1"/>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a:lstStyle>
          <a:p>
            <a:endParaRPr lang="en-US" dirty="0"/>
          </a:p>
        </p:txBody>
      </p:sp>
      <p:sp>
        <p:nvSpPr>
          <p:cNvPr id="24" name="Line Callout 2 45">
            <a:extLst>
              <a:ext uri="{FF2B5EF4-FFF2-40B4-BE49-F238E27FC236}">
                <a16:creationId xmlns:a16="http://schemas.microsoft.com/office/drawing/2014/main" id="{71FEDB9F-BA8D-4B23-A379-CB870023FEF1}"/>
              </a:ext>
            </a:extLst>
          </p:cNvPr>
          <p:cNvSpPr/>
          <p:nvPr/>
        </p:nvSpPr>
        <p:spPr>
          <a:xfrm>
            <a:off x="7315262" y="2087874"/>
            <a:ext cx="1348807" cy="487683"/>
          </a:xfrm>
          <a:prstGeom prst="borderCallout2">
            <a:avLst>
              <a:gd name="adj1" fmla="val 97243"/>
              <a:gd name="adj2" fmla="val 48882"/>
              <a:gd name="adj3" fmla="val 327865"/>
              <a:gd name="adj4" fmla="val 49190"/>
              <a:gd name="adj5" fmla="val 327189"/>
              <a:gd name="adj6" fmla="val 77734"/>
            </a:avLst>
          </a:prstGeom>
          <a:noFill/>
          <a:ln w="254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Front = Cold Aisle</a:t>
            </a:r>
          </a:p>
        </p:txBody>
      </p:sp>
      <p:cxnSp>
        <p:nvCxnSpPr>
          <p:cNvPr id="25" name="Straight Arrow Connector 24">
            <a:extLst>
              <a:ext uri="{FF2B5EF4-FFF2-40B4-BE49-F238E27FC236}">
                <a16:creationId xmlns:a16="http://schemas.microsoft.com/office/drawing/2014/main" id="{C7C4018D-891B-42BE-8611-075DE342CDCF}"/>
              </a:ext>
            </a:extLst>
          </p:cNvPr>
          <p:cNvCxnSpPr>
            <a:cxnSpLocks/>
          </p:cNvCxnSpPr>
          <p:nvPr/>
        </p:nvCxnSpPr>
        <p:spPr>
          <a:xfrm>
            <a:off x="6316442" y="3512169"/>
            <a:ext cx="1826230" cy="1128933"/>
          </a:xfrm>
          <a:prstGeom prst="straightConnector1">
            <a:avLst/>
          </a:prstGeom>
          <a:ln w="25400">
            <a:solidFill>
              <a:srgbClr val="00B050"/>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C74B2419-0EEE-4600-B1D0-5F29A84F3631}"/>
              </a:ext>
            </a:extLst>
          </p:cNvPr>
          <p:cNvCxnSpPr>
            <a:cxnSpLocks/>
            <a:endCxn id="20" idx="1"/>
          </p:cNvCxnSpPr>
          <p:nvPr/>
        </p:nvCxnSpPr>
        <p:spPr>
          <a:xfrm flipV="1">
            <a:off x="4850755" y="2616553"/>
            <a:ext cx="1415373" cy="35731"/>
          </a:xfrm>
          <a:prstGeom prst="straightConnector1">
            <a:avLst/>
          </a:prstGeom>
          <a:ln w="25400">
            <a:solidFill>
              <a:srgbClr val="00B050"/>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F6DFCDB3-7897-4BD6-B276-F48DCE5AE7C5}"/>
              </a:ext>
            </a:extLst>
          </p:cNvPr>
          <p:cNvCxnSpPr>
            <a:cxnSpLocks/>
            <a:endCxn id="21" idx="1"/>
          </p:cNvCxnSpPr>
          <p:nvPr/>
        </p:nvCxnSpPr>
        <p:spPr>
          <a:xfrm>
            <a:off x="3223149" y="3029107"/>
            <a:ext cx="2650027" cy="199550"/>
          </a:xfrm>
          <a:prstGeom prst="straightConnector1">
            <a:avLst/>
          </a:prstGeom>
          <a:ln w="25400">
            <a:solidFill>
              <a:srgbClr val="00B050"/>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843ED61A-3863-4368-9729-DDFED5289E65}"/>
              </a:ext>
            </a:extLst>
          </p:cNvPr>
          <p:cNvCxnSpPr>
            <a:cxnSpLocks/>
          </p:cNvCxnSpPr>
          <p:nvPr/>
        </p:nvCxnSpPr>
        <p:spPr>
          <a:xfrm>
            <a:off x="6718847" y="2921846"/>
            <a:ext cx="1792831" cy="1535692"/>
          </a:xfrm>
          <a:prstGeom prst="straightConnector1">
            <a:avLst/>
          </a:prstGeom>
          <a:ln w="25400">
            <a:solidFill>
              <a:srgbClr val="00B050"/>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A8A025BE-E852-4574-92DE-90135EA72697}"/>
              </a:ext>
            </a:extLst>
          </p:cNvPr>
          <p:cNvCxnSpPr>
            <a:cxnSpLocks/>
            <a:endCxn id="22" idx="1"/>
          </p:cNvCxnSpPr>
          <p:nvPr/>
        </p:nvCxnSpPr>
        <p:spPr>
          <a:xfrm>
            <a:off x="2753139" y="3429000"/>
            <a:ext cx="2131098" cy="221275"/>
          </a:xfrm>
          <a:prstGeom prst="straightConnector1">
            <a:avLst/>
          </a:prstGeom>
          <a:ln w="25400">
            <a:solidFill>
              <a:srgbClr val="00B050"/>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A5908D3D-08D5-4BE4-9D1B-83AC9AA33750}"/>
              </a:ext>
            </a:extLst>
          </p:cNvPr>
          <p:cNvCxnSpPr>
            <a:cxnSpLocks/>
          </p:cNvCxnSpPr>
          <p:nvPr/>
        </p:nvCxnSpPr>
        <p:spPr>
          <a:xfrm>
            <a:off x="5455688" y="3885366"/>
            <a:ext cx="2443811" cy="933392"/>
          </a:xfrm>
          <a:prstGeom prst="straightConnector1">
            <a:avLst/>
          </a:prstGeom>
          <a:ln w="25400">
            <a:solidFill>
              <a:srgbClr val="00B050"/>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A2EE830B-EAE0-4241-87C8-6974B7461456}"/>
              </a:ext>
            </a:extLst>
          </p:cNvPr>
          <p:cNvCxnSpPr>
            <a:cxnSpLocks/>
          </p:cNvCxnSpPr>
          <p:nvPr/>
        </p:nvCxnSpPr>
        <p:spPr>
          <a:xfrm>
            <a:off x="2539233" y="3828724"/>
            <a:ext cx="1740071" cy="332029"/>
          </a:xfrm>
          <a:prstGeom prst="straightConnector1">
            <a:avLst/>
          </a:prstGeom>
          <a:ln w="25400">
            <a:solidFill>
              <a:srgbClr val="00B050"/>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5E3F9455-5917-4E8A-AA83-256F1BA051E1}"/>
              </a:ext>
            </a:extLst>
          </p:cNvPr>
          <p:cNvCxnSpPr>
            <a:cxnSpLocks/>
          </p:cNvCxnSpPr>
          <p:nvPr/>
        </p:nvCxnSpPr>
        <p:spPr>
          <a:xfrm>
            <a:off x="4824716" y="4372431"/>
            <a:ext cx="2490546" cy="446327"/>
          </a:xfrm>
          <a:prstGeom prst="straightConnector1">
            <a:avLst/>
          </a:prstGeom>
          <a:ln w="25400">
            <a:solidFill>
              <a:srgbClr val="00B050"/>
            </a:solidFill>
            <a:headEnd type="none"/>
            <a:tailEnd type="arrow"/>
          </a:ln>
        </p:spPr>
        <p:style>
          <a:lnRef idx="1">
            <a:schemeClr val="accent1"/>
          </a:lnRef>
          <a:fillRef idx="0">
            <a:schemeClr val="accent1"/>
          </a:fillRef>
          <a:effectRef idx="0">
            <a:schemeClr val="accent1"/>
          </a:effectRef>
          <a:fontRef idx="minor">
            <a:schemeClr val="tx1"/>
          </a:fontRef>
        </p:style>
      </p:cxnSp>
      <p:grpSp>
        <p:nvGrpSpPr>
          <p:cNvPr id="33" name="Group 32">
            <a:extLst>
              <a:ext uri="{FF2B5EF4-FFF2-40B4-BE49-F238E27FC236}">
                <a16:creationId xmlns:a16="http://schemas.microsoft.com/office/drawing/2014/main" id="{18AC2669-8203-4EE8-8CC2-EEA68EF14128}"/>
              </a:ext>
            </a:extLst>
          </p:cNvPr>
          <p:cNvGrpSpPr/>
          <p:nvPr/>
        </p:nvGrpSpPr>
        <p:grpSpPr>
          <a:xfrm>
            <a:off x="4697254" y="5058789"/>
            <a:ext cx="3054474" cy="1627275"/>
            <a:chOff x="2072304" y="4392869"/>
            <a:chExt cx="4331863" cy="1966608"/>
          </a:xfrm>
        </p:grpSpPr>
        <p:pic>
          <p:nvPicPr>
            <p:cNvPr id="34" name="Picture 33">
              <a:extLst>
                <a:ext uri="{FF2B5EF4-FFF2-40B4-BE49-F238E27FC236}">
                  <a16:creationId xmlns:a16="http://schemas.microsoft.com/office/drawing/2014/main" id="{91AA3440-5C42-4F27-AB59-F58BDBC353E1}"/>
                </a:ext>
              </a:extLst>
            </p:cNvPr>
            <p:cNvPicPr>
              <a:picLocks noChangeAspect="1"/>
            </p:cNvPicPr>
            <p:nvPr/>
          </p:nvPicPr>
          <p:blipFill>
            <a:blip r:embed="rId10"/>
            <a:stretch>
              <a:fillRect/>
            </a:stretch>
          </p:blipFill>
          <p:spPr>
            <a:xfrm>
              <a:off x="4581336" y="5205566"/>
              <a:ext cx="1622402" cy="1153911"/>
            </a:xfrm>
            <a:prstGeom prst="rect">
              <a:avLst/>
            </a:prstGeom>
          </p:spPr>
        </p:pic>
        <p:cxnSp>
          <p:nvCxnSpPr>
            <p:cNvPr id="35" name="Straight Connector 34">
              <a:extLst>
                <a:ext uri="{FF2B5EF4-FFF2-40B4-BE49-F238E27FC236}">
                  <a16:creationId xmlns:a16="http://schemas.microsoft.com/office/drawing/2014/main" id="{42FBF904-86AF-446E-81F0-AD3699899147}"/>
                </a:ext>
              </a:extLst>
            </p:cNvPr>
            <p:cNvCxnSpPr>
              <a:cxnSpLocks/>
            </p:cNvCxnSpPr>
            <p:nvPr/>
          </p:nvCxnSpPr>
          <p:spPr>
            <a:xfrm flipV="1">
              <a:off x="4581336" y="4392869"/>
              <a:ext cx="1710495" cy="81269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3CEBA967-0489-4341-A96C-795AE642751A}"/>
                </a:ext>
              </a:extLst>
            </p:cNvPr>
            <p:cNvCxnSpPr>
              <a:cxnSpLocks/>
            </p:cNvCxnSpPr>
            <p:nvPr/>
          </p:nvCxnSpPr>
          <p:spPr>
            <a:xfrm flipV="1">
              <a:off x="6203738" y="4425231"/>
              <a:ext cx="200429" cy="193424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6746CF6C-8BB4-4189-A532-FE47556F0888}"/>
                </a:ext>
              </a:extLst>
            </p:cNvPr>
            <p:cNvCxnSpPr>
              <a:cxnSpLocks/>
            </p:cNvCxnSpPr>
            <p:nvPr/>
          </p:nvCxnSpPr>
          <p:spPr>
            <a:xfrm flipV="1">
              <a:off x="2072304" y="5869077"/>
              <a:ext cx="3364927" cy="377792"/>
            </a:xfrm>
            <a:prstGeom prst="straightConnector1">
              <a:avLst/>
            </a:prstGeom>
            <a:ln w="25400">
              <a:solidFill>
                <a:srgbClr val="00B050"/>
              </a:solidFill>
              <a:headEnd type="none"/>
              <a:tailEnd type="arrow"/>
            </a:ln>
          </p:spPr>
          <p:style>
            <a:lnRef idx="1">
              <a:schemeClr val="accent1"/>
            </a:lnRef>
            <a:fillRef idx="0">
              <a:schemeClr val="accent1"/>
            </a:fillRef>
            <a:effectRef idx="0">
              <a:schemeClr val="accent1"/>
            </a:effectRef>
            <a:fontRef idx="minor">
              <a:schemeClr val="tx1"/>
            </a:fontRef>
          </p:style>
        </p:cxnSp>
      </p:grpSp>
      <p:cxnSp>
        <p:nvCxnSpPr>
          <p:cNvPr id="38" name="Straight Arrow Connector 37">
            <a:extLst>
              <a:ext uri="{FF2B5EF4-FFF2-40B4-BE49-F238E27FC236}">
                <a16:creationId xmlns:a16="http://schemas.microsoft.com/office/drawing/2014/main" id="{E52BB85E-39AC-4485-BBCF-0C41D4D3C7DD}"/>
              </a:ext>
            </a:extLst>
          </p:cNvPr>
          <p:cNvCxnSpPr>
            <a:cxnSpLocks/>
          </p:cNvCxnSpPr>
          <p:nvPr/>
        </p:nvCxnSpPr>
        <p:spPr>
          <a:xfrm flipV="1">
            <a:off x="3110249" y="4327903"/>
            <a:ext cx="5666003" cy="640006"/>
          </a:xfrm>
          <a:prstGeom prst="straightConnector1">
            <a:avLst/>
          </a:prstGeom>
          <a:ln w="25400">
            <a:solidFill>
              <a:srgbClr val="00B050"/>
            </a:solidFill>
            <a:headEnd type="none"/>
            <a:tailEnd type="arrow"/>
          </a:ln>
        </p:spPr>
        <p:style>
          <a:lnRef idx="1">
            <a:schemeClr val="accent1"/>
          </a:lnRef>
          <a:fillRef idx="0">
            <a:schemeClr val="accent1"/>
          </a:fillRef>
          <a:effectRef idx="0">
            <a:schemeClr val="accent1"/>
          </a:effectRef>
          <a:fontRef idx="minor">
            <a:schemeClr val="tx1"/>
          </a:fontRef>
        </p:style>
      </p:cxnSp>
      <p:sp>
        <p:nvSpPr>
          <p:cNvPr id="39" name="Line Callout 2 45">
            <a:extLst>
              <a:ext uri="{FF2B5EF4-FFF2-40B4-BE49-F238E27FC236}">
                <a16:creationId xmlns:a16="http://schemas.microsoft.com/office/drawing/2014/main" id="{4FCC4025-D40B-4B21-BF11-C3699EE68880}"/>
              </a:ext>
            </a:extLst>
          </p:cNvPr>
          <p:cNvSpPr/>
          <p:nvPr/>
        </p:nvSpPr>
        <p:spPr>
          <a:xfrm>
            <a:off x="10343278" y="2091408"/>
            <a:ext cx="1319409" cy="487683"/>
          </a:xfrm>
          <a:prstGeom prst="borderCallout2">
            <a:avLst>
              <a:gd name="adj1" fmla="val 97243"/>
              <a:gd name="adj2" fmla="val 48882"/>
              <a:gd name="adj3" fmla="val 327865"/>
              <a:gd name="adj4" fmla="val 47877"/>
              <a:gd name="adj5" fmla="val 327189"/>
              <a:gd name="adj6" fmla="val 8806"/>
            </a:avLst>
          </a:prstGeom>
          <a:noFill/>
          <a:ln w="254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Back = Hot Aisle</a:t>
            </a:r>
          </a:p>
        </p:txBody>
      </p:sp>
      <p:cxnSp>
        <p:nvCxnSpPr>
          <p:cNvPr id="40" name="Straight Arrow Connector 39">
            <a:extLst>
              <a:ext uri="{FF2B5EF4-FFF2-40B4-BE49-F238E27FC236}">
                <a16:creationId xmlns:a16="http://schemas.microsoft.com/office/drawing/2014/main" id="{5759CD82-25D3-4620-A894-4ED9985982F2}"/>
              </a:ext>
            </a:extLst>
          </p:cNvPr>
          <p:cNvCxnSpPr>
            <a:cxnSpLocks/>
          </p:cNvCxnSpPr>
          <p:nvPr/>
        </p:nvCxnSpPr>
        <p:spPr>
          <a:xfrm flipV="1">
            <a:off x="4220364" y="5011938"/>
            <a:ext cx="3005384" cy="335372"/>
          </a:xfrm>
          <a:prstGeom prst="straightConnector1">
            <a:avLst/>
          </a:prstGeom>
          <a:ln w="25400">
            <a:solidFill>
              <a:srgbClr val="00B050"/>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2123F696-AD59-4521-9125-37484E093691}"/>
              </a:ext>
            </a:extLst>
          </p:cNvPr>
          <p:cNvCxnSpPr>
            <a:cxnSpLocks/>
          </p:cNvCxnSpPr>
          <p:nvPr/>
        </p:nvCxnSpPr>
        <p:spPr>
          <a:xfrm>
            <a:off x="4220364" y="5338463"/>
            <a:ext cx="3478966" cy="8847"/>
          </a:xfrm>
          <a:prstGeom prst="straightConnector1">
            <a:avLst/>
          </a:prstGeom>
          <a:ln w="25400">
            <a:solidFill>
              <a:srgbClr val="00B050"/>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825B4681-F231-4A21-99C0-8DEDD0C99E81}"/>
              </a:ext>
            </a:extLst>
          </p:cNvPr>
          <p:cNvCxnSpPr>
            <a:cxnSpLocks/>
          </p:cNvCxnSpPr>
          <p:nvPr/>
        </p:nvCxnSpPr>
        <p:spPr>
          <a:xfrm flipV="1">
            <a:off x="4824716" y="5189312"/>
            <a:ext cx="2490546" cy="999435"/>
          </a:xfrm>
          <a:prstGeom prst="straightConnector1">
            <a:avLst/>
          </a:prstGeom>
          <a:ln w="25400">
            <a:solidFill>
              <a:srgbClr val="00B050"/>
            </a:solidFill>
            <a:headEnd type="none"/>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40614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par>
                                <p:cTn id="7" presetID="1" presetClass="entr" presetSubtype="0" fill="hold" grpId="0" nodeType="withEffect">
                                  <p:stCondLst>
                                    <p:cond delay="500"/>
                                  </p:stCondLst>
                                  <p:childTnLst>
                                    <p:set>
                                      <p:cBhvr>
                                        <p:cTn id="8" dur="1" fill="hold">
                                          <p:stCondLst>
                                            <p:cond delay="0"/>
                                          </p:stCondLst>
                                        </p:cTn>
                                        <p:tgtEl>
                                          <p:spTgt spid="3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xit" presetSubtype="0" fill="hold" grpId="1" nodeType="clickEffect">
                                  <p:stCondLst>
                                    <p:cond delay="0"/>
                                  </p:stCondLst>
                                  <p:childTnLst>
                                    <p:set>
                                      <p:cBhvr>
                                        <p:cTn id="12" dur="1" fill="hold">
                                          <p:stCondLst>
                                            <p:cond delay="0"/>
                                          </p:stCondLst>
                                        </p:cTn>
                                        <p:tgtEl>
                                          <p:spTgt spid="24"/>
                                        </p:tgtEl>
                                        <p:attrNameLst>
                                          <p:attrName>style.visibility</p:attrName>
                                        </p:attrNameLst>
                                      </p:cBhvr>
                                      <p:to>
                                        <p:strVal val="hidden"/>
                                      </p:to>
                                    </p:set>
                                  </p:childTnLst>
                                </p:cTn>
                              </p:par>
                              <p:par>
                                <p:cTn id="13" presetID="1" presetClass="exit" presetSubtype="0" fill="hold" grpId="1" nodeType="withEffect">
                                  <p:stCondLst>
                                    <p:cond delay="0"/>
                                  </p:stCondLst>
                                  <p:childTnLst>
                                    <p:set>
                                      <p:cBhvr>
                                        <p:cTn id="14" dur="1" fill="hold">
                                          <p:stCondLst>
                                            <p:cond delay="0"/>
                                          </p:stCondLst>
                                        </p:cTn>
                                        <p:tgtEl>
                                          <p:spTgt spid="39"/>
                                        </p:tgtEl>
                                        <p:attrNameLst>
                                          <p:attrName>style.visibility</p:attrName>
                                        </p:attrNameLst>
                                      </p:cBhvr>
                                      <p:to>
                                        <p:strVal val="hidden"/>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0"/>
                                        </p:tgtEl>
                                        <p:attrNameLst>
                                          <p:attrName>style.visibility</p:attrName>
                                        </p:attrNameLst>
                                      </p:cBhvr>
                                      <p:to>
                                        <p:strVal val="visible"/>
                                      </p:to>
                                    </p:set>
                                  </p:childTnLst>
                                </p:cTn>
                              </p:par>
                              <p:par>
                                <p:cTn id="19" presetID="1" presetClass="entr" presetSubtype="0" fill="hold" nodeType="withEffect">
                                  <p:stCondLst>
                                    <p:cond delay="250"/>
                                  </p:stCondLst>
                                  <p:childTnLst>
                                    <p:set>
                                      <p:cBhvr>
                                        <p:cTn id="20" dur="1" fill="hold">
                                          <p:stCondLst>
                                            <p:cond delay="0"/>
                                          </p:stCondLst>
                                        </p:cTn>
                                        <p:tgtEl>
                                          <p:spTgt spid="26"/>
                                        </p:tgtEl>
                                        <p:attrNameLst>
                                          <p:attrName>style.visibility</p:attrName>
                                        </p:attrNameLst>
                                      </p:cBhvr>
                                      <p:to>
                                        <p:strVal val="visible"/>
                                      </p:to>
                                    </p:set>
                                  </p:childTnLst>
                                </p:cTn>
                              </p:par>
                              <p:par>
                                <p:cTn id="21" presetID="1" presetClass="entr" presetSubtype="0" fill="hold" nodeType="withEffect">
                                  <p:stCondLst>
                                    <p:cond delay="250"/>
                                  </p:stCondLst>
                                  <p:childTnLst>
                                    <p:set>
                                      <p:cBhvr>
                                        <p:cTn id="22" dur="1" fill="hold">
                                          <p:stCondLst>
                                            <p:cond delay="0"/>
                                          </p:stCondLst>
                                        </p:cTn>
                                        <p:tgtEl>
                                          <p:spTgt spid="2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1"/>
                                        </p:tgtEl>
                                        <p:attrNameLst>
                                          <p:attrName>style.visibility</p:attrName>
                                        </p:attrNameLst>
                                      </p:cBhvr>
                                      <p:to>
                                        <p:strVal val="visible"/>
                                      </p:to>
                                    </p:set>
                                  </p:childTnLst>
                                </p:cTn>
                              </p:par>
                              <p:par>
                                <p:cTn id="27" presetID="1" presetClass="entr" presetSubtype="0" fill="hold" nodeType="withEffect">
                                  <p:stCondLst>
                                    <p:cond delay="250"/>
                                  </p:stCondLst>
                                  <p:childTnLst>
                                    <p:set>
                                      <p:cBhvr>
                                        <p:cTn id="28" dur="1" fill="hold">
                                          <p:stCondLst>
                                            <p:cond delay="0"/>
                                          </p:stCondLst>
                                        </p:cTn>
                                        <p:tgtEl>
                                          <p:spTgt spid="27"/>
                                        </p:tgtEl>
                                        <p:attrNameLst>
                                          <p:attrName>style.visibility</p:attrName>
                                        </p:attrNameLst>
                                      </p:cBhvr>
                                      <p:to>
                                        <p:strVal val="visible"/>
                                      </p:to>
                                    </p:set>
                                  </p:childTnLst>
                                </p:cTn>
                              </p:par>
                              <p:par>
                                <p:cTn id="29" presetID="1" presetClass="entr" presetSubtype="0" fill="hold" nodeType="withEffect">
                                  <p:stCondLst>
                                    <p:cond delay="250"/>
                                  </p:stCondLst>
                                  <p:childTnLst>
                                    <p:set>
                                      <p:cBhvr>
                                        <p:cTn id="30" dur="1" fill="hold">
                                          <p:stCondLst>
                                            <p:cond delay="0"/>
                                          </p:stCondLst>
                                        </p:cTn>
                                        <p:tgtEl>
                                          <p:spTgt spid="25"/>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22"/>
                                        </p:tgtEl>
                                        <p:attrNameLst>
                                          <p:attrName>style.visibility</p:attrName>
                                        </p:attrNameLst>
                                      </p:cBhvr>
                                      <p:to>
                                        <p:strVal val="visible"/>
                                      </p:to>
                                    </p:set>
                                  </p:childTnLst>
                                </p:cTn>
                              </p:par>
                              <p:par>
                                <p:cTn id="35" presetID="1" presetClass="entr" presetSubtype="0" fill="hold" nodeType="withEffect">
                                  <p:stCondLst>
                                    <p:cond delay="250"/>
                                  </p:stCondLst>
                                  <p:childTnLst>
                                    <p:set>
                                      <p:cBhvr>
                                        <p:cTn id="36" dur="1" fill="hold">
                                          <p:stCondLst>
                                            <p:cond delay="0"/>
                                          </p:stCondLst>
                                        </p:cTn>
                                        <p:tgtEl>
                                          <p:spTgt spid="29"/>
                                        </p:tgtEl>
                                        <p:attrNameLst>
                                          <p:attrName>style.visibility</p:attrName>
                                        </p:attrNameLst>
                                      </p:cBhvr>
                                      <p:to>
                                        <p:strVal val="visible"/>
                                      </p:to>
                                    </p:set>
                                  </p:childTnLst>
                                </p:cTn>
                              </p:par>
                              <p:par>
                                <p:cTn id="37" presetID="1" presetClass="entr" presetSubtype="0" fill="hold" nodeType="withEffect">
                                  <p:stCondLst>
                                    <p:cond delay="250"/>
                                  </p:stCondLst>
                                  <p:childTnLst>
                                    <p:set>
                                      <p:cBhvr>
                                        <p:cTn id="38" dur="1" fill="hold">
                                          <p:stCondLst>
                                            <p:cond delay="0"/>
                                          </p:stCondLst>
                                        </p:cTn>
                                        <p:tgtEl>
                                          <p:spTgt spid="30"/>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17"/>
                                        </p:tgtEl>
                                        <p:attrNameLst>
                                          <p:attrName>style.visibility</p:attrName>
                                        </p:attrNameLst>
                                      </p:cBhvr>
                                      <p:to>
                                        <p:strVal val="visible"/>
                                      </p:to>
                                    </p:set>
                                  </p:childTnLst>
                                </p:cTn>
                              </p:par>
                              <p:par>
                                <p:cTn id="43" presetID="1" presetClass="entr" presetSubtype="0" fill="hold" nodeType="withEffect">
                                  <p:stCondLst>
                                    <p:cond delay="250"/>
                                  </p:stCondLst>
                                  <p:childTnLst>
                                    <p:set>
                                      <p:cBhvr>
                                        <p:cTn id="44" dur="1" fill="hold">
                                          <p:stCondLst>
                                            <p:cond delay="0"/>
                                          </p:stCondLst>
                                        </p:cTn>
                                        <p:tgtEl>
                                          <p:spTgt spid="31"/>
                                        </p:tgtEl>
                                        <p:attrNameLst>
                                          <p:attrName>style.visibility</p:attrName>
                                        </p:attrNameLst>
                                      </p:cBhvr>
                                      <p:to>
                                        <p:strVal val="visible"/>
                                      </p:to>
                                    </p:set>
                                  </p:childTnLst>
                                </p:cTn>
                              </p:par>
                              <p:par>
                                <p:cTn id="45" presetID="1" presetClass="entr" presetSubtype="0" fill="hold" nodeType="withEffect">
                                  <p:stCondLst>
                                    <p:cond delay="250"/>
                                  </p:stCondLst>
                                  <p:childTnLst>
                                    <p:set>
                                      <p:cBhvr>
                                        <p:cTn id="46" dur="1" fill="hold">
                                          <p:stCondLst>
                                            <p:cond delay="0"/>
                                          </p:stCondLst>
                                        </p:cTn>
                                        <p:tgtEl>
                                          <p:spTgt spid="32"/>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xit" presetSubtype="0" fill="hold" nodeType="clickEffect">
                                  <p:stCondLst>
                                    <p:cond delay="0"/>
                                  </p:stCondLst>
                                  <p:childTnLst>
                                    <p:set>
                                      <p:cBhvr>
                                        <p:cTn id="50" dur="1" fill="hold">
                                          <p:stCondLst>
                                            <p:cond delay="0"/>
                                          </p:stCondLst>
                                        </p:cTn>
                                        <p:tgtEl>
                                          <p:spTgt spid="26"/>
                                        </p:tgtEl>
                                        <p:attrNameLst>
                                          <p:attrName>style.visibility</p:attrName>
                                        </p:attrNameLst>
                                      </p:cBhvr>
                                      <p:to>
                                        <p:strVal val="hidden"/>
                                      </p:to>
                                    </p:set>
                                  </p:childTnLst>
                                </p:cTn>
                              </p:par>
                              <p:par>
                                <p:cTn id="51" presetID="1" presetClass="exit" presetSubtype="0" fill="hold" nodeType="withEffect">
                                  <p:stCondLst>
                                    <p:cond delay="0"/>
                                  </p:stCondLst>
                                  <p:childTnLst>
                                    <p:set>
                                      <p:cBhvr>
                                        <p:cTn id="52" dur="1" fill="hold">
                                          <p:stCondLst>
                                            <p:cond delay="0"/>
                                          </p:stCondLst>
                                        </p:cTn>
                                        <p:tgtEl>
                                          <p:spTgt spid="28"/>
                                        </p:tgtEl>
                                        <p:attrNameLst>
                                          <p:attrName>style.visibility</p:attrName>
                                        </p:attrNameLst>
                                      </p:cBhvr>
                                      <p:to>
                                        <p:strVal val="hidden"/>
                                      </p:to>
                                    </p:set>
                                  </p:childTnLst>
                                </p:cTn>
                              </p:par>
                              <p:par>
                                <p:cTn id="53" presetID="1" presetClass="exit" presetSubtype="0" fill="hold" nodeType="withEffect">
                                  <p:stCondLst>
                                    <p:cond delay="0"/>
                                  </p:stCondLst>
                                  <p:childTnLst>
                                    <p:set>
                                      <p:cBhvr>
                                        <p:cTn id="54" dur="1" fill="hold">
                                          <p:stCondLst>
                                            <p:cond delay="0"/>
                                          </p:stCondLst>
                                        </p:cTn>
                                        <p:tgtEl>
                                          <p:spTgt spid="27"/>
                                        </p:tgtEl>
                                        <p:attrNameLst>
                                          <p:attrName>style.visibility</p:attrName>
                                        </p:attrNameLst>
                                      </p:cBhvr>
                                      <p:to>
                                        <p:strVal val="hidden"/>
                                      </p:to>
                                    </p:set>
                                  </p:childTnLst>
                                </p:cTn>
                              </p:par>
                              <p:par>
                                <p:cTn id="55" presetID="1" presetClass="exit" presetSubtype="0" fill="hold" nodeType="withEffect">
                                  <p:stCondLst>
                                    <p:cond delay="0"/>
                                  </p:stCondLst>
                                  <p:childTnLst>
                                    <p:set>
                                      <p:cBhvr>
                                        <p:cTn id="56" dur="1" fill="hold">
                                          <p:stCondLst>
                                            <p:cond delay="0"/>
                                          </p:stCondLst>
                                        </p:cTn>
                                        <p:tgtEl>
                                          <p:spTgt spid="25"/>
                                        </p:tgtEl>
                                        <p:attrNameLst>
                                          <p:attrName>style.visibility</p:attrName>
                                        </p:attrNameLst>
                                      </p:cBhvr>
                                      <p:to>
                                        <p:strVal val="hidden"/>
                                      </p:to>
                                    </p:set>
                                  </p:childTnLst>
                                </p:cTn>
                              </p:par>
                              <p:par>
                                <p:cTn id="57" presetID="1" presetClass="exit" presetSubtype="0" fill="hold" nodeType="withEffect">
                                  <p:stCondLst>
                                    <p:cond delay="0"/>
                                  </p:stCondLst>
                                  <p:childTnLst>
                                    <p:set>
                                      <p:cBhvr>
                                        <p:cTn id="58" dur="1" fill="hold">
                                          <p:stCondLst>
                                            <p:cond delay="0"/>
                                          </p:stCondLst>
                                        </p:cTn>
                                        <p:tgtEl>
                                          <p:spTgt spid="29"/>
                                        </p:tgtEl>
                                        <p:attrNameLst>
                                          <p:attrName>style.visibility</p:attrName>
                                        </p:attrNameLst>
                                      </p:cBhvr>
                                      <p:to>
                                        <p:strVal val="hidden"/>
                                      </p:to>
                                    </p:set>
                                  </p:childTnLst>
                                </p:cTn>
                              </p:par>
                              <p:par>
                                <p:cTn id="59" presetID="1" presetClass="exit" presetSubtype="0" fill="hold" nodeType="withEffect">
                                  <p:stCondLst>
                                    <p:cond delay="0"/>
                                  </p:stCondLst>
                                  <p:childTnLst>
                                    <p:set>
                                      <p:cBhvr>
                                        <p:cTn id="60" dur="1" fill="hold">
                                          <p:stCondLst>
                                            <p:cond delay="0"/>
                                          </p:stCondLst>
                                        </p:cTn>
                                        <p:tgtEl>
                                          <p:spTgt spid="30"/>
                                        </p:tgtEl>
                                        <p:attrNameLst>
                                          <p:attrName>style.visibility</p:attrName>
                                        </p:attrNameLst>
                                      </p:cBhvr>
                                      <p:to>
                                        <p:strVal val="hidden"/>
                                      </p:to>
                                    </p:set>
                                  </p:childTnLst>
                                </p:cTn>
                              </p:par>
                              <p:par>
                                <p:cTn id="61" presetID="1" presetClass="exit" presetSubtype="0" fill="hold" nodeType="withEffect">
                                  <p:stCondLst>
                                    <p:cond delay="0"/>
                                  </p:stCondLst>
                                  <p:childTnLst>
                                    <p:set>
                                      <p:cBhvr>
                                        <p:cTn id="62" dur="1" fill="hold">
                                          <p:stCondLst>
                                            <p:cond delay="0"/>
                                          </p:stCondLst>
                                        </p:cTn>
                                        <p:tgtEl>
                                          <p:spTgt spid="31"/>
                                        </p:tgtEl>
                                        <p:attrNameLst>
                                          <p:attrName>style.visibility</p:attrName>
                                        </p:attrNameLst>
                                      </p:cBhvr>
                                      <p:to>
                                        <p:strVal val="hidden"/>
                                      </p:to>
                                    </p:set>
                                  </p:childTnLst>
                                </p:cTn>
                              </p:par>
                              <p:par>
                                <p:cTn id="63" presetID="1" presetClass="exit" presetSubtype="0" fill="hold" nodeType="withEffect">
                                  <p:stCondLst>
                                    <p:cond delay="0"/>
                                  </p:stCondLst>
                                  <p:childTnLst>
                                    <p:set>
                                      <p:cBhvr>
                                        <p:cTn id="64" dur="1" fill="hold">
                                          <p:stCondLst>
                                            <p:cond delay="0"/>
                                          </p:stCondLst>
                                        </p:cTn>
                                        <p:tgtEl>
                                          <p:spTgt spid="32"/>
                                        </p:tgtEl>
                                        <p:attrNameLst>
                                          <p:attrName>style.visibility</p:attrName>
                                        </p:attrNameLst>
                                      </p:cBhvr>
                                      <p:to>
                                        <p:strVal val="hidden"/>
                                      </p:to>
                                    </p:set>
                                  </p:childTnLst>
                                </p:cTn>
                              </p:par>
                              <p:par>
                                <p:cTn id="65" presetID="1" presetClass="exit" presetSubtype="0" fill="hold" nodeType="withEffect">
                                  <p:stCondLst>
                                    <p:cond delay="0"/>
                                  </p:stCondLst>
                                  <p:childTnLst>
                                    <p:set>
                                      <p:cBhvr>
                                        <p:cTn id="66" dur="1" fill="hold">
                                          <p:stCondLst>
                                            <p:cond delay="0"/>
                                          </p:stCondLst>
                                        </p:cTn>
                                        <p:tgtEl>
                                          <p:spTgt spid="20"/>
                                        </p:tgtEl>
                                        <p:attrNameLst>
                                          <p:attrName>style.visibility</p:attrName>
                                        </p:attrNameLst>
                                      </p:cBhvr>
                                      <p:to>
                                        <p:strVal val="hidden"/>
                                      </p:to>
                                    </p:set>
                                  </p:childTnLst>
                                </p:cTn>
                              </p:par>
                              <p:par>
                                <p:cTn id="67" presetID="1" presetClass="exit" presetSubtype="0" fill="hold" nodeType="withEffect">
                                  <p:stCondLst>
                                    <p:cond delay="0"/>
                                  </p:stCondLst>
                                  <p:childTnLst>
                                    <p:set>
                                      <p:cBhvr>
                                        <p:cTn id="68" dur="1" fill="hold">
                                          <p:stCondLst>
                                            <p:cond delay="0"/>
                                          </p:stCondLst>
                                        </p:cTn>
                                        <p:tgtEl>
                                          <p:spTgt spid="21"/>
                                        </p:tgtEl>
                                        <p:attrNameLst>
                                          <p:attrName>style.visibility</p:attrName>
                                        </p:attrNameLst>
                                      </p:cBhvr>
                                      <p:to>
                                        <p:strVal val="hidden"/>
                                      </p:to>
                                    </p:set>
                                  </p:childTnLst>
                                </p:cTn>
                              </p:par>
                              <p:par>
                                <p:cTn id="69" presetID="1" presetClass="exit" presetSubtype="0" fill="hold" nodeType="withEffect">
                                  <p:stCondLst>
                                    <p:cond delay="0"/>
                                  </p:stCondLst>
                                  <p:childTnLst>
                                    <p:set>
                                      <p:cBhvr>
                                        <p:cTn id="70" dur="1" fill="hold">
                                          <p:stCondLst>
                                            <p:cond delay="0"/>
                                          </p:stCondLst>
                                        </p:cTn>
                                        <p:tgtEl>
                                          <p:spTgt spid="22"/>
                                        </p:tgtEl>
                                        <p:attrNameLst>
                                          <p:attrName>style.visibility</p:attrName>
                                        </p:attrNameLst>
                                      </p:cBhvr>
                                      <p:to>
                                        <p:strVal val="hidden"/>
                                      </p:to>
                                    </p:set>
                                  </p:childTnLst>
                                </p:cTn>
                              </p:par>
                              <p:par>
                                <p:cTn id="71" presetID="1" presetClass="exit" presetSubtype="0" fill="hold" nodeType="withEffect">
                                  <p:stCondLst>
                                    <p:cond delay="0"/>
                                  </p:stCondLst>
                                  <p:childTnLst>
                                    <p:set>
                                      <p:cBhvr>
                                        <p:cTn id="72" dur="1" fill="hold">
                                          <p:stCondLst>
                                            <p:cond delay="0"/>
                                          </p:stCondLst>
                                        </p:cTn>
                                        <p:tgtEl>
                                          <p:spTgt spid="17"/>
                                        </p:tgtEl>
                                        <p:attrNameLst>
                                          <p:attrName>style.visibility</p:attrName>
                                        </p:attrNameLst>
                                      </p:cBhvr>
                                      <p:to>
                                        <p:strVal val="hidden"/>
                                      </p:to>
                                    </p:set>
                                  </p:childTnLst>
                                </p:cTn>
                              </p:par>
                            </p:childTnLst>
                          </p:cTn>
                        </p:par>
                      </p:childTnLst>
                    </p:cTn>
                  </p:par>
                  <p:par>
                    <p:cTn id="73" fill="hold">
                      <p:stCondLst>
                        <p:cond delay="indefinite"/>
                      </p:stCondLst>
                      <p:childTnLst>
                        <p:par>
                          <p:cTn id="74" fill="hold">
                            <p:stCondLst>
                              <p:cond delay="0"/>
                            </p:stCondLst>
                            <p:childTnLst>
                              <p:par>
                                <p:cTn id="75" presetID="1" presetClass="entr" presetSubtype="0" fill="hold" nodeType="clickEffect">
                                  <p:stCondLst>
                                    <p:cond delay="0"/>
                                  </p:stCondLst>
                                  <p:childTnLst>
                                    <p:set>
                                      <p:cBhvr>
                                        <p:cTn id="76" dur="1" fill="hold">
                                          <p:stCondLst>
                                            <p:cond delay="0"/>
                                          </p:stCondLst>
                                        </p:cTn>
                                        <p:tgtEl>
                                          <p:spTgt spid="38"/>
                                        </p:tgtEl>
                                        <p:attrNameLst>
                                          <p:attrName>style.visibility</p:attrName>
                                        </p:attrNameLst>
                                      </p:cBhvr>
                                      <p:to>
                                        <p:strVal val="visible"/>
                                      </p:to>
                                    </p:set>
                                  </p:childTnLst>
                                </p:cTn>
                              </p:par>
                            </p:childTnLst>
                          </p:cTn>
                        </p:par>
                      </p:childTnLst>
                    </p:cTn>
                  </p:par>
                  <p:par>
                    <p:cTn id="77" fill="hold">
                      <p:stCondLst>
                        <p:cond delay="indefinite"/>
                      </p:stCondLst>
                      <p:childTnLst>
                        <p:par>
                          <p:cTn id="78" fill="hold">
                            <p:stCondLst>
                              <p:cond delay="0"/>
                            </p:stCondLst>
                            <p:childTnLst>
                              <p:par>
                                <p:cTn id="79" presetID="1" presetClass="entr" presetSubtype="0" fill="hold" nodeType="clickEffect">
                                  <p:stCondLst>
                                    <p:cond delay="0"/>
                                  </p:stCondLst>
                                  <p:childTnLst>
                                    <p:set>
                                      <p:cBhvr>
                                        <p:cTn id="80" dur="1" fill="hold">
                                          <p:stCondLst>
                                            <p:cond delay="0"/>
                                          </p:stCondLst>
                                        </p:cTn>
                                        <p:tgtEl>
                                          <p:spTgt spid="40"/>
                                        </p:tgtEl>
                                        <p:attrNameLst>
                                          <p:attrName>style.visibility</p:attrName>
                                        </p:attrNameLst>
                                      </p:cBhvr>
                                      <p:to>
                                        <p:strVal val="visible"/>
                                      </p:to>
                                    </p:set>
                                  </p:childTnLst>
                                </p:cTn>
                              </p:par>
                              <p:par>
                                <p:cTn id="81" presetID="1" presetClass="entr" presetSubtype="0" fill="hold" nodeType="withEffect">
                                  <p:stCondLst>
                                    <p:cond delay="0"/>
                                  </p:stCondLst>
                                  <p:childTnLst>
                                    <p:set>
                                      <p:cBhvr>
                                        <p:cTn id="82" dur="1" fill="hold">
                                          <p:stCondLst>
                                            <p:cond delay="0"/>
                                          </p:stCondLst>
                                        </p:cTn>
                                        <p:tgtEl>
                                          <p:spTgt spid="41"/>
                                        </p:tgtEl>
                                        <p:attrNameLst>
                                          <p:attrName>style.visibility</p:attrName>
                                        </p:attrNameLst>
                                      </p:cBhvr>
                                      <p:to>
                                        <p:strVal val="visible"/>
                                      </p:to>
                                    </p:set>
                                  </p:childTnLst>
                                </p:cTn>
                              </p:par>
                            </p:childTnLst>
                          </p:cTn>
                        </p:par>
                      </p:childTnLst>
                    </p:cTn>
                  </p:par>
                  <p:par>
                    <p:cTn id="83" fill="hold">
                      <p:stCondLst>
                        <p:cond delay="indefinite"/>
                      </p:stCondLst>
                      <p:childTnLst>
                        <p:par>
                          <p:cTn id="84" fill="hold">
                            <p:stCondLst>
                              <p:cond delay="0"/>
                            </p:stCondLst>
                            <p:childTnLst>
                              <p:par>
                                <p:cTn id="85" presetID="1" presetClass="entr" presetSubtype="0" fill="hold" nodeType="clickEffect">
                                  <p:stCondLst>
                                    <p:cond delay="0"/>
                                  </p:stCondLst>
                                  <p:childTnLst>
                                    <p:set>
                                      <p:cBhvr>
                                        <p:cTn id="86" dur="1" fill="hold">
                                          <p:stCondLst>
                                            <p:cond delay="0"/>
                                          </p:stCondLst>
                                        </p:cTn>
                                        <p:tgtEl>
                                          <p:spTgt spid="42"/>
                                        </p:tgtEl>
                                        <p:attrNameLst>
                                          <p:attrName>style.visibility</p:attrName>
                                        </p:attrNameLst>
                                      </p:cBhvr>
                                      <p:to>
                                        <p:strVal val="visible"/>
                                      </p:to>
                                    </p:set>
                                  </p:childTnLst>
                                </p:cTn>
                              </p:par>
                            </p:childTnLst>
                          </p:cTn>
                        </p:par>
                      </p:childTnLst>
                    </p:cTn>
                  </p:par>
                  <p:par>
                    <p:cTn id="87" fill="hold">
                      <p:stCondLst>
                        <p:cond delay="indefinite"/>
                      </p:stCondLst>
                      <p:childTnLst>
                        <p:par>
                          <p:cTn id="88" fill="hold">
                            <p:stCondLst>
                              <p:cond delay="0"/>
                            </p:stCondLst>
                            <p:childTnLst>
                              <p:par>
                                <p:cTn id="89" presetID="1" presetClass="entr" presetSubtype="0" fill="hold" nodeType="clickEffect">
                                  <p:stCondLst>
                                    <p:cond delay="0"/>
                                  </p:stCondLst>
                                  <p:childTnLst>
                                    <p:set>
                                      <p:cBhvr>
                                        <p:cTn id="90"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4" grpId="1" animBg="1"/>
      <p:bldP spid="39" grpId="0" animBg="1"/>
      <p:bldP spid="39" grpId="1"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941832"/>
            <a:ext cx="11647487" cy="615027"/>
          </a:xfrm>
        </p:spPr>
        <p:txBody>
          <a:bodyPr>
            <a:normAutofit/>
          </a:bodyPr>
          <a:lstStyle/>
          <a:p>
            <a:r>
              <a:rPr lang="en-US" dirty="0"/>
              <a:t>Ultrastar Data Family Serviceability</a:t>
            </a:r>
          </a:p>
        </p:txBody>
      </p:sp>
      <p:pic>
        <p:nvPicPr>
          <p:cNvPr id="9" name="Picture 8">
            <a:extLst>
              <a:ext uri="{FF2B5EF4-FFF2-40B4-BE49-F238E27FC236}">
                <a16:creationId xmlns:a16="http://schemas.microsoft.com/office/drawing/2014/main" id="{A182F1AE-BF9E-407F-AEEC-5AA551E4157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04339" y="1977608"/>
            <a:ext cx="3486932" cy="3486932"/>
          </a:xfrm>
          <a:prstGeom prst="rect">
            <a:avLst/>
          </a:prstGeom>
        </p:spPr>
      </p:pic>
      <p:sp>
        <p:nvSpPr>
          <p:cNvPr id="11" name="Content Placeholder 9">
            <a:extLst>
              <a:ext uri="{FF2B5EF4-FFF2-40B4-BE49-F238E27FC236}">
                <a16:creationId xmlns:a16="http://schemas.microsoft.com/office/drawing/2014/main" id="{15DAFDE9-185C-4F95-AE80-4767C5F156C7}"/>
              </a:ext>
            </a:extLst>
          </p:cNvPr>
          <p:cNvSpPr txBox="1">
            <a:spLocks/>
          </p:cNvSpPr>
          <p:nvPr/>
        </p:nvSpPr>
        <p:spPr>
          <a:xfrm>
            <a:off x="6295089" y="2192187"/>
            <a:ext cx="5693709" cy="2302453"/>
          </a:xfrm>
          <a:prstGeom prst="rect">
            <a:avLst/>
          </a:prstGeom>
        </p:spPr>
        <p:txBody>
          <a:bodyPr/>
          <a:lstStyle>
            <a:lvl1pPr marL="274320" indent="-274320" algn="l" defTabSz="914400" rtl="0" eaLnBrk="1" latinLnBrk="0" hangingPunct="1">
              <a:lnSpc>
                <a:spcPct val="100000"/>
              </a:lnSpc>
              <a:spcBef>
                <a:spcPts val="0"/>
              </a:spcBef>
              <a:spcAft>
                <a:spcPts val="1000"/>
              </a:spcAft>
              <a:buClrTx/>
              <a:buSzPct val="100000"/>
              <a:buFont typeface="Arial" panose="020B0604020202020204" pitchFamily="34" charset="0"/>
              <a:buChar char="•"/>
              <a:defRPr sz="2400" b="0" i="0" kern="1200">
                <a:solidFill>
                  <a:schemeClr val="tx1"/>
                </a:solidFill>
                <a:latin typeface="+mn-lt"/>
                <a:ea typeface="+mn-ea"/>
                <a:cs typeface="+mn-cs"/>
              </a:defRPr>
            </a:lvl1pPr>
            <a:lvl2pPr marL="548640" indent="-274320" algn="l" defTabSz="914400" rtl="0" eaLnBrk="1" latinLnBrk="0" hangingPunct="1">
              <a:lnSpc>
                <a:spcPct val="100000"/>
              </a:lnSpc>
              <a:spcBef>
                <a:spcPts val="0"/>
              </a:spcBef>
              <a:spcAft>
                <a:spcPts val="1000"/>
              </a:spcAft>
              <a:buClrTx/>
              <a:buSzPct val="100000"/>
              <a:buFont typeface="Arial" panose="020B0604020202020204" pitchFamily="34" charset="0"/>
              <a:buChar char="•"/>
              <a:defRPr sz="2400" b="0" i="0" kern="1200">
                <a:solidFill>
                  <a:schemeClr val="tx1"/>
                </a:solidFill>
                <a:latin typeface="+mn-lt"/>
                <a:ea typeface="+mn-ea"/>
                <a:cs typeface="+mn-cs"/>
              </a:defRPr>
            </a:lvl2pPr>
            <a:lvl3pPr marL="822960" indent="-274320" algn="l" defTabSz="914400" rtl="0" eaLnBrk="1" latinLnBrk="0" hangingPunct="1">
              <a:lnSpc>
                <a:spcPct val="100000"/>
              </a:lnSpc>
              <a:spcBef>
                <a:spcPts val="0"/>
              </a:spcBef>
              <a:spcAft>
                <a:spcPts val="1000"/>
              </a:spcAft>
              <a:buClrTx/>
              <a:buSzPct val="100000"/>
              <a:buFont typeface="Arial" panose="020B0604020202020204" pitchFamily="34" charset="0"/>
              <a:buChar char="•"/>
              <a:defRPr sz="2400" b="0" i="0" kern="1200">
                <a:solidFill>
                  <a:schemeClr val="tx1"/>
                </a:solidFill>
                <a:latin typeface="+mn-lt"/>
                <a:ea typeface="+mn-ea"/>
                <a:cs typeface="+mn-cs"/>
              </a:defRPr>
            </a:lvl3pPr>
            <a:lvl4pPr marL="1097280" indent="-274320" algn="l" defTabSz="914400" rtl="0" eaLnBrk="1" latinLnBrk="0" hangingPunct="1">
              <a:lnSpc>
                <a:spcPct val="100000"/>
              </a:lnSpc>
              <a:spcBef>
                <a:spcPts val="0"/>
              </a:spcBef>
              <a:spcAft>
                <a:spcPts val="1000"/>
              </a:spcAft>
              <a:buClrTx/>
              <a:buSzPct val="100000"/>
              <a:buFont typeface="Arial" panose="020B0604020202020204" pitchFamily="34" charset="0"/>
              <a:buChar char="•"/>
              <a:defRPr sz="2000" b="0" i="0" kern="1200">
                <a:solidFill>
                  <a:schemeClr val="tx1"/>
                </a:solidFill>
                <a:latin typeface="+mn-lt"/>
                <a:ea typeface="+mn-ea"/>
                <a:cs typeface="+mn-cs"/>
              </a:defRPr>
            </a:lvl4pPr>
            <a:lvl5pPr marL="1371600" indent="-274320" algn="l" defTabSz="914400" rtl="0" eaLnBrk="1" latinLnBrk="0" hangingPunct="1">
              <a:lnSpc>
                <a:spcPct val="100000"/>
              </a:lnSpc>
              <a:spcBef>
                <a:spcPts val="0"/>
              </a:spcBef>
              <a:spcAft>
                <a:spcPts val="1000"/>
              </a:spcAft>
              <a:buClrTx/>
              <a:buSzPct val="100000"/>
              <a:buFont typeface="Arial" panose="020B0604020202020204" pitchFamily="34" charset="0"/>
              <a:buChar char="•"/>
              <a:defRPr sz="2000" b="0" i="0" kern="1200">
                <a:solidFill>
                  <a:schemeClr val="tx1"/>
                </a:solidFill>
                <a:latin typeface="+mn-lt"/>
                <a:ea typeface="+mn-ea"/>
                <a:cs typeface="+mn-cs"/>
                <a:sym typeface="Wingdings" pitchFamily="2" charset="2"/>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b="1" dirty="0">
                <a:solidFill>
                  <a:schemeClr val="accent1"/>
                </a:solidFill>
              </a:rPr>
              <a:t>Hot Aisle Service</a:t>
            </a:r>
          </a:p>
          <a:p>
            <a:pPr>
              <a:spcBef>
                <a:spcPts val="600"/>
              </a:spcBef>
            </a:pPr>
            <a:r>
              <a:rPr lang="en-US" sz="1600" dirty="0"/>
              <a:t>External Blowers</a:t>
            </a:r>
          </a:p>
          <a:p>
            <a:pPr>
              <a:spcBef>
                <a:spcPts val="600"/>
              </a:spcBef>
            </a:pPr>
            <a:r>
              <a:rPr lang="en-US" sz="1600" dirty="0"/>
              <a:t>PSUs (1 + 1 redundant)</a:t>
            </a:r>
          </a:p>
          <a:p>
            <a:pPr>
              <a:spcBef>
                <a:spcPts val="600"/>
              </a:spcBef>
            </a:pPr>
            <a:r>
              <a:rPr lang="en-US" sz="1600" dirty="0"/>
              <a:t>SAS Ports 2 x 6 (SAS) or 1 x 6 (SATA)</a:t>
            </a:r>
          </a:p>
        </p:txBody>
      </p:sp>
      <p:cxnSp>
        <p:nvCxnSpPr>
          <p:cNvPr id="12" name="Straight Arrow Connector 11">
            <a:extLst>
              <a:ext uri="{FF2B5EF4-FFF2-40B4-BE49-F238E27FC236}">
                <a16:creationId xmlns:a16="http://schemas.microsoft.com/office/drawing/2014/main" id="{E73FD44F-1B7E-4AB6-A99E-78CC7DFB3E5D}"/>
              </a:ext>
            </a:extLst>
          </p:cNvPr>
          <p:cNvCxnSpPr>
            <a:cxnSpLocks/>
          </p:cNvCxnSpPr>
          <p:nvPr/>
        </p:nvCxnSpPr>
        <p:spPr>
          <a:xfrm flipH="1">
            <a:off x="3816626" y="2920048"/>
            <a:ext cx="2604052" cy="896578"/>
          </a:xfrm>
          <a:prstGeom prst="straightConnector1">
            <a:avLst/>
          </a:prstGeom>
          <a:ln w="25400">
            <a:solidFill>
              <a:srgbClr val="00B050"/>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1020085A-F160-4B59-B360-06F32CCFDEFD}"/>
              </a:ext>
            </a:extLst>
          </p:cNvPr>
          <p:cNvCxnSpPr>
            <a:cxnSpLocks/>
          </p:cNvCxnSpPr>
          <p:nvPr/>
        </p:nvCxnSpPr>
        <p:spPr>
          <a:xfrm flipH="1">
            <a:off x="2504661" y="3440999"/>
            <a:ext cx="3898285" cy="944067"/>
          </a:xfrm>
          <a:prstGeom prst="straightConnector1">
            <a:avLst/>
          </a:prstGeom>
          <a:ln w="25400">
            <a:solidFill>
              <a:srgbClr val="00B050"/>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F37338B2-3BE9-4E84-8C2E-7A348627ABBD}"/>
              </a:ext>
            </a:extLst>
          </p:cNvPr>
          <p:cNvCxnSpPr>
            <a:cxnSpLocks/>
          </p:cNvCxnSpPr>
          <p:nvPr/>
        </p:nvCxnSpPr>
        <p:spPr>
          <a:xfrm flipH="1">
            <a:off x="2504661" y="3440999"/>
            <a:ext cx="3898285" cy="433892"/>
          </a:xfrm>
          <a:prstGeom prst="straightConnector1">
            <a:avLst/>
          </a:prstGeom>
          <a:ln w="25400">
            <a:solidFill>
              <a:srgbClr val="00B050"/>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BD8D4D29-E1BC-40EC-85C0-65DB72B4A0C1}"/>
              </a:ext>
            </a:extLst>
          </p:cNvPr>
          <p:cNvCxnSpPr>
            <a:cxnSpLocks/>
          </p:cNvCxnSpPr>
          <p:nvPr/>
        </p:nvCxnSpPr>
        <p:spPr>
          <a:xfrm flipH="1">
            <a:off x="1673009" y="3917956"/>
            <a:ext cx="4729938" cy="743496"/>
          </a:xfrm>
          <a:prstGeom prst="straightConnector1">
            <a:avLst/>
          </a:prstGeom>
          <a:ln w="25400">
            <a:solidFill>
              <a:srgbClr val="00B050"/>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6EEB5D0F-ECB2-4CD9-97D5-37B67FD02777}"/>
              </a:ext>
            </a:extLst>
          </p:cNvPr>
          <p:cNvCxnSpPr>
            <a:cxnSpLocks/>
          </p:cNvCxnSpPr>
          <p:nvPr/>
        </p:nvCxnSpPr>
        <p:spPr>
          <a:xfrm flipH="1">
            <a:off x="3110948" y="3917956"/>
            <a:ext cx="3291998" cy="375627"/>
          </a:xfrm>
          <a:prstGeom prst="straightConnector1">
            <a:avLst/>
          </a:prstGeom>
          <a:ln w="25400">
            <a:solidFill>
              <a:srgbClr val="00B050"/>
            </a:solidFill>
            <a:headEnd type="none"/>
            <a:tailEnd type="arrow"/>
          </a:ln>
        </p:spPr>
        <p:style>
          <a:lnRef idx="1">
            <a:schemeClr val="accent1"/>
          </a:lnRef>
          <a:fillRef idx="0">
            <a:schemeClr val="accent1"/>
          </a:fillRef>
          <a:effectRef idx="0">
            <a:schemeClr val="accent1"/>
          </a:effectRef>
          <a:fontRef idx="minor">
            <a:schemeClr val="tx1"/>
          </a:fontRef>
        </p:style>
      </p:cxnSp>
      <p:pic>
        <p:nvPicPr>
          <p:cNvPr id="19" name="Picture 18">
            <a:extLst>
              <a:ext uri="{FF2B5EF4-FFF2-40B4-BE49-F238E27FC236}">
                <a16:creationId xmlns:a16="http://schemas.microsoft.com/office/drawing/2014/main" id="{89F3EB8E-7D9C-4394-8A57-B8E2942E9E31}"/>
              </a:ext>
            </a:extLst>
          </p:cNvPr>
          <p:cNvPicPr>
            <a:picLocks noChangeAspect="1"/>
          </p:cNvPicPr>
          <p:nvPr/>
        </p:nvPicPr>
        <p:blipFill>
          <a:blip r:embed="rId4"/>
          <a:stretch>
            <a:fillRect/>
          </a:stretch>
        </p:blipFill>
        <p:spPr>
          <a:xfrm>
            <a:off x="6064266" y="4013618"/>
            <a:ext cx="3623073" cy="2570657"/>
          </a:xfrm>
          <a:prstGeom prst="rect">
            <a:avLst/>
          </a:prstGeom>
        </p:spPr>
      </p:pic>
      <p:sp>
        <p:nvSpPr>
          <p:cNvPr id="20" name="Content Placeholder 9">
            <a:extLst>
              <a:ext uri="{FF2B5EF4-FFF2-40B4-BE49-F238E27FC236}">
                <a16:creationId xmlns:a16="http://schemas.microsoft.com/office/drawing/2014/main" id="{5BAE5013-E50E-4EC8-949B-AA078D870F74}"/>
              </a:ext>
            </a:extLst>
          </p:cNvPr>
          <p:cNvSpPr txBox="1">
            <a:spLocks/>
          </p:cNvSpPr>
          <p:nvPr/>
        </p:nvSpPr>
        <p:spPr>
          <a:xfrm>
            <a:off x="2007078" y="5146369"/>
            <a:ext cx="2527885" cy="732201"/>
          </a:xfrm>
          <a:prstGeom prst="rect">
            <a:avLst/>
          </a:prstGeom>
        </p:spPr>
        <p:txBody>
          <a:bodyPr vert="horz" lIns="0" tIns="0" rIns="0" bIns="0" rtlCol="0">
            <a:noAutofit/>
          </a:bodyPr>
          <a:lstStyle>
            <a:lvl1pPr marL="182875" indent="-182875" algn="l" defTabSz="914400" rtl="0" eaLnBrk="1" latinLnBrk="0" hangingPunct="1">
              <a:lnSpc>
                <a:spcPct val="95000"/>
              </a:lnSpc>
              <a:spcBef>
                <a:spcPts val="1200"/>
              </a:spcBef>
              <a:buClr>
                <a:schemeClr val="accent1"/>
              </a:buClr>
              <a:buFont typeface="Arial" panose="020B0604020202020204" pitchFamily="34" charset="0"/>
              <a:buChar char="•"/>
              <a:defRPr sz="2200" kern="1200">
                <a:solidFill>
                  <a:schemeClr val="tx1"/>
                </a:solidFill>
                <a:latin typeface="+mn-lt"/>
                <a:ea typeface="+mn-ea"/>
                <a:cs typeface="+mn-cs"/>
              </a:defRPr>
            </a:lvl1pPr>
            <a:lvl2pPr marL="457200" indent="-223838" algn="l" defTabSz="914400" rtl="0" eaLnBrk="1" latinLnBrk="0" hangingPunct="1">
              <a:lnSpc>
                <a:spcPct val="95000"/>
              </a:lnSpc>
              <a:spcBef>
                <a:spcPts val="400"/>
              </a:spcBef>
              <a:buClr>
                <a:schemeClr val="accent1"/>
              </a:buClr>
              <a:buFont typeface="Calibri" panose="020F0502020204030204" pitchFamily="34" charset="0"/>
              <a:buChar char="–"/>
              <a:defRPr sz="1800" kern="1200">
                <a:solidFill>
                  <a:schemeClr val="tx1"/>
                </a:solidFill>
                <a:latin typeface="+mn-lt"/>
                <a:ea typeface="+mn-ea"/>
                <a:cs typeface="+mn-cs"/>
              </a:defRPr>
            </a:lvl2pPr>
            <a:lvl3pPr marL="630238" indent="-173038" algn="l" defTabSz="914400" rtl="0" eaLnBrk="1" latinLnBrk="0" hangingPunct="1">
              <a:lnSpc>
                <a:spcPct val="95000"/>
              </a:lnSpc>
              <a:spcBef>
                <a:spcPts val="400"/>
              </a:spcBef>
              <a:buClr>
                <a:schemeClr val="accent1"/>
              </a:buClr>
              <a:buFont typeface="Arial" panose="020B0604020202020204" pitchFamily="34" charset="0"/>
              <a:buChar char="•"/>
              <a:tabLst/>
              <a:defRPr sz="1600" kern="1200">
                <a:solidFill>
                  <a:schemeClr val="tx1"/>
                </a:solidFill>
                <a:latin typeface="+mn-lt"/>
                <a:ea typeface="+mn-ea"/>
                <a:cs typeface="+mn-cs"/>
              </a:defRPr>
            </a:lvl3pPr>
            <a:lvl4pPr marL="854075" indent="-163513" algn="l" defTabSz="914400" rtl="0" eaLnBrk="1" latinLnBrk="0" hangingPunct="1">
              <a:lnSpc>
                <a:spcPct val="95000"/>
              </a:lnSpc>
              <a:spcBef>
                <a:spcPts val="400"/>
              </a:spcBef>
              <a:buClr>
                <a:schemeClr val="accent1"/>
              </a:buClr>
              <a:buFont typeface="Calibri" panose="020F0502020204030204" pitchFamily="34" charset="0"/>
              <a:buChar char="–"/>
              <a:defRPr sz="1400" kern="1200">
                <a:solidFill>
                  <a:schemeClr val="tx1"/>
                </a:solidFill>
                <a:latin typeface="+mn-lt"/>
                <a:ea typeface="+mn-ea"/>
                <a:cs typeface="+mn-cs"/>
              </a:defRPr>
            </a:lvl4pPr>
            <a:lvl5pPr marL="914377" indent="-182875" algn="l" defTabSz="914400" rtl="0" eaLnBrk="1" latinLnBrk="0" hangingPunct="1">
              <a:lnSpc>
                <a:spcPct val="95000"/>
              </a:lnSpc>
              <a:spcBef>
                <a:spcPts val="400"/>
              </a:spcBef>
              <a:buFont typeface="Arial" panose="020B0604020202020204" pitchFamily="34" charset="0"/>
              <a:buChar char="•"/>
              <a:defRPr sz="15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b="1" dirty="0">
                <a:solidFill>
                  <a:schemeClr val="accent1"/>
                </a:solidFill>
              </a:rPr>
              <a:t>Hot Aisle Service</a:t>
            </a:r>
          </a:p>
          <a:p>
            <a:pPr>
              <a:lnSpc>
                <a:spcPct val="100000"/>
              </a:lnSpc>
              <a:spcBef>
                <a:spcPts val="600"/>
              </a:spcBef>
            </a:pPr>
            <a:r>
              <a:rPr lang="en-US" sz="1600" dirty="0"/>
              <a:t>CMA (pivots away)</a:t>
            </a:r>
          </a:p>
          <a:p>
            <a:pPr>
              <a:lnSpc>
                <a:spcPct val="100000"/>
              </a:lnSpc>
              <a:spcBef>
                <a:spcPts val="600"/>
              </a:spcBef>
            </a:pPr>
            <a:endParaRPr lang="en-US" sz="1600" dirty="0"/>
          </a:p>
          <a:p>
            <a:pPr>
              <a:lnSpc>
                <a:spcPct val="100000"/>
              </a:lnSpc>
              <a:spcBef>
                <a:spcPts val="600"/>
              </a:spcBef>
            </a:pPr>
            <a:r>
              <a:rPr lang="en-US" sz="1600" dirty="0"/>
              <a:t>Cables are secured when unit gets pulled</a:t>
            </a:r>
          </a:p>
        </p:txBody>
      </p:sp>
      <p:cxnSp>
        <p:nvCxnSpPr>
          <p:cNvPr id="21" name="Straight Arrow Connector 20">
            <a:extLst>
              <a:ext uri="{FF2B5EF4-FFF2-40B4-BE49-F238E27FC236}">
                <a16:creationId xmlns:a16="http://schemas.microsoft.com/office/drawing/2014/main" id="{403A520E-78F8-4E27-9CC9-740BA9731B82}"/>
              </a:ext>
            </a:extLst>
          </p:cNvPr>
          <p:cNvCxnSpPr>
            <a:cxnSpLocks/>
          </p:cNvCxnSpPr>
          <p:nvPr/>
        </p:nvCxnSpPr>
        <p:spPr>
          <a:xfrm>
            <a:off x="3982915" y="5669548"/>
            <a:ext cx="2229042" cy="246620"/>
          </a:xfrm>
          <a:prstGeom prst="straightConnector1">
            <a:avLst/>
          </a:prstGeom>
          <a:ln w="25400">
            <a:solidFill>
              <a:srgbClr val="00B050"/>
            </a:solidFill>
            <a:headEnd type="none"/>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549144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5"/>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941832"/>
            <a:ext cx="11647487" cy="615027"/>
          </a:xfrm>
        </p:spPr>
        <p:txBody>
          <a:bodyPr>
            <a:normAutofit/>
          </a:bodyPr>
          <a:lstStyle/>
          <a:p>
            <a:r>
              <a:rPr lang="en-US" dirty="0"/>
              <a:t>Ultrastar Data Family Innovations</a:t>
            </a:r>
          </a:p>
        </p:txBody>
      </p:sp>
      <p:sp>
        <p:nvSpPr>
          <p:cNvPr id="3" name="Content Placeholder 2"/>
          <p:cNvSpPr>
            <a:spLocks noGrp="1"/>
          </p:cNvSpPr>
          <p:nvPr>
            <p:ph sz="quarter" idx="11"/>
          </p:nvPr>
        </p:nvSpPr>
        <p:spPr>
          <a:xfrm>
            <a:off x="205065" y="2242310"/>
            <a:ext cx="6912545" cy="4092575"/>
          </a:xfrm>
        </p:spPr>
        <p:txBody>
          <a:bodyPr vert="horz" lIns="0" tIns="0" rIns="0" bIns="0" rtlCol="0" anchor="t">
            <a:noAutofit/>
          </a:bodyPr>
          <a:lstStyle/>
          <a:p>
            <a:pPr>
              <a:spcAft>
                <a:spcPts val="600"/>
              </a:spcAft>
            </a:pPr>
            <a:r>
              <a:rPr lang="en-US" sz="1800" dirty="0"/>
              <a:t>Reduction of 62% in drive return rate* </a:t>
            </a:r>
          </a:p>
          <a:p>
            <a:pPr lvl="1">
              <a:spcAft>
                <a:spcPts val="600"/>
              </a:spcAft>
            </a:pPr>
            <a:endParaRPr lang="en-US" sz="1600" dirty="0"/>
          </a:p>
          <a:p>
            <a:pPr lvl="1">
              <a:spcAft>
                <a:spcPts val="600"/>
              </a:spcAft>
            </a:pPr>
            <a:r>
              <a:rPr lang="en-US" sz="1600" dirty="0"/>
              <a:t>Same HDD Ultrastar DC HC520</a:t>
            </a:r>
          </a:p>
          <a:p>
            <a:pPr lvl="2">
              <a:spcAft>
                <a:spcPts val="600"/>
              </a:spcAft>
            </a:pPr>
            <a:r>
              <a:rPr lang="en-US" sz="1600" dirty="0"/>
              <a:t>Ultrastar Data vs. JBOD w/o </a:t>
            </a:r>
            <a:r>
              <a:rPr lang="en-US" sz="1600" dirty="0" err="1"/>
              <a:t>IsoVibe</a:t>
            </a:r>
            <a:r>
              <a:rPr lang="en-US" sz="1600" dirty="0"/>
              <a:t> &amp; </a:t>
            </a:r>
            <a:r>
              <a:rPr lang="en-US" sz="1600" dirty="0" err="1"/>
              <a:t>ArcticFlow</a:t>
            </a:r>
            <a:endParaRPr lang="en-US" sz="1600" dirty="0"/>
          </a:p>
          <a:p>
            <a:pPr lvl="2">
              <a:spcAft>
                <a:spcPts val="600"/>
              </a:spcAft>
            </a:pPr>
            <a:endParaRPr lang="en-US" sz="1600" dirty="0"/>
          </a:p>
          <a:p>
            <a:pPr lvl="1">
              <a:spcAft>
                <a:spcPts val="600"/>
              </a:spcAft>
            </a:pPr>
            <a:r>
              <a:rPr lang="en-US" sz="1600" dirty="0"/>
              <a:t>Fewer false alarms by thermal throttling</a:t>
            </a:r>
          </a:p>
          <a:p>
            <a:pPr lvl="1">
              <a:spcAft>
                <a:spcPts val="600"/>
              </a:spcAft>
            </a:pPr>
            <a:endParaRPr lang="en-US" sz="1600" dirty="0"/>
          </a:p>
          <a:p>
            <a:pPr lvl="1">
              <a:spcAft>
                <a:spcPts val="600"/>
              </a:spcAft>
            </a:pPr>
            <a:r>
              <a:rPr lang="en-US" sz="1600" dirty="0"/>
              <a:t>Fewer false alarms by vibration induced time outs</a:t>
            </a:r>
          </a:p>
        </p:txBody>
      </p:sp>
      <p:pic>
        <p:nvPicPr>
          <p:cNvPr id="9" name="Picture 8">
            <a:extLst>
              <a:ext uri="{FF2B5EF4-FFF2-40B4-BE49-F238E27FC236}">
                <a16:creationId xmlns:a16="http://schemas.microsoft.com/office/drawing/2014/main" id="{4816FEF7-BA22-48AD-A91F-E4B35B7060EA}"/>
              </a:ext>
            </a:extLst>
          </p:cNvPr>
          <p:cNvPicPr>
            <a:picLocks noChangeAspect="1"/>
          </p:cNvPicPr>
          <p:nvPr/>
        </p:nvPicPr>
        <p:blipFill>
          <a:blip r:embed="rId3"/>
          <a:stretch>
            <a:fillRect/>
          </a:stretch>
        </p:blipFill>
        <p:spPr>
          <a:xfrm>
            <a:off x="5589460" y="2148009"/>
            <a:ext cx="6393816" cy="4092575"/>
          </a:xfrm>
          <a:prstGeom prst="rect">
            <a:avLst/>
          </a:prstGeom>
        </p:spPr>
      </p:pic>
      <p:sp>
        <p:nvSpPr>
          <p:cNvPr id="11" name="TextBox 10">
            <a:extLst>
              <a:ext uri="{FF2B5EF4-FFF2-40B4-BE49-F238E27FC236}">
                <a16:creationId xmlns:a16="http://schemas.microsoft.com/office/drawing/2014/main" id="{145DDDA8-516B-49A8-811E-7C27D227462F}"/>
              </a:ext>
            </a:extLst>
          </p:cNvPr>
          <p:cNvSpPr txBox="1"/>
          <p:nvPr/>
        </p:nvSpPr>
        <p:spPr>
          <a:xfrm>
            <a:off x="290812" y="6252596"/>
            <a:ext cx="7074084" cy="577081"/>
          </a:xfrm>
          <a:prstGeom prst="rect">
            <a:avLst/>
          </a:prstGeom>
          <a:noFill/>
        </p:spPr>
        <p:txBody>
          <a:bodyPr wrap="square" rtlCol="0">
            <a:spAutoFit/>
          </a:bodyPr>
          <a:lstStyle/>
          <a:p>
            <a:pPr marL="171450" indent="-171450">
              <a:buFont typeface="Arial" panose="020B0604020202020204" pitchFamily="34" charset="0"/>
              <a:buChar char="•"/>
            </a:pPr>
            <a:r>
              <a:rPr lang="en-US" sz="1050" dirty="0"/>
              <a:t>Based on observed drive return data, does not change product specifications and does not constitute a warranty</a:t>
            </a:r>
          </a:p>
          <a:p>
            <a:pPr marL="171450" indent="-171450">
              <a:buFont typeface="Arial" panose="020B0604020202020204" pitchFamily="34" charset="0"/>
              <a:buChar char="•"/>
            </a:pPr>
            <a:r>
              <a:rPr lang="en-US" sz="1050" dirty="0"/>
              <a:t>ARR = Annual Return Rate, including false alarms</a:t>
            </a:r>
          </a:p>
          <a:p>
            <a:pPr marL="171450" indent="-171450">
              <a:buFont typeface="Arial" panose="020B0604020202020204" pitchFamily="34" charset="0"/>
              <a:buChar char="•"/>
            </a:pPr>
            <a:r>
              <a:rPr lang="en-US" sz="1050" dirty="0"/>
              <a:t>AFR = Annual Failure Rate</a:t>
            </a:r>
            <a:endParaRPr lang="en-US" sz="400" dirty="0"/>
          </a:p>
        </p:txBody>
      </p:sp>
    </p:spTree>
    <p:extLst>
      <p:ext uri="{BB962C8B-B14F-4D97-AF65-F5344CB8AC3E}">
        <p14:creationId xmlns:p14="http://schemas.microsoft.com/office/powerpoint/2010/main" val="2273814562"/>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0EAE4A-C1EF-47AB-A6F0-FC357EBA6E81}"/>
              </a:ext>
            </a:extLst>
          </p:cNvPr>
          <p:cNvSpPr>
            <a:spLocks noGrp="1"/>
          </p:cNvSpPr>
          <p:nvPr>
            <p:ph type="title"/>
          </p:nvPr>
        </p:nvSpPr>
        <p:spPr/>
        <p:txBody>
          <a:bodyPr/>
          <a:lstStyle/>
          <a:p>
            <a:r>
              <a:rPr lang="de-DE" dirty="0" err="1"/>
              <a:t>Published</a:t>
            </a:r>
            <a:r>
              <a:rPr lang="de-DE" dirty="0"/>
              <a:t> HDD 2Q22 Return Rates</a:t>
            </a:r>
            <a:endParaRPr lang="en-US" dirty="0"/>
          </a:p>
        </p:txBody>
      </p:sp>
      <p:sp>
        <p:nvSpPr>
          <p:cNvPr id="3" name="Content Placeholder 2">
            <a:extLst>
              <a:ext uri="{FF2B5EF4-FFF2-40B4-BE49-F238E27FC236}">
                <a16:creationId xmlns:a16="http://schemas.microsoft.com/office/drawing/2014/main" id="{24318956-2EF5-4D4F-A139-71951E7D9CFC}"/>
              </a:ext>
            </a:extLst>
          </p:cNvPr>
          <p:cNvSpPr>
            <a:spLocks noGrp="1"/>
          </p:cNvSpPr>
          <p:nvPr>
            <p:ph sz="quarter" idx="11"/>
          </p:nvPr>
        </p:nvSpPr>
        <p:spPr/>
        <p:txBody>
          <a:bodyPr/>
          <a:lstStyle/>
          <a:p>
            <a:r>
              <a:rPr lang="de-DE" dirty="0"/>
              <a:t>WDC/HGST	3,981,929 Drive Days	  76 Returns = 0.64% ARR</a:t>
            </a:r>
          </a:p>
          <a:p>
            <a:r>
              <a:rPr lang="de-DE" dirty="0" err="1"/>
              <a:t>Competitor</a:t>
            </a:r>
            <a:r>
              <a:rPr lang="de-DE" dirty="0"/>
              <a:t> A	9,563,552 Drive Days	547 Returns = 2,09% ARR</a:t>
            </a:r>
          </a:p>
          <a:p>
            <a:r>
              <a:rPr lang="de-DE" dirty="0" err="1"/>
              <a:t>Competitor</a:t>
            </a:r>
            <a:r>
              <a:rPr lang="de-DE" dirty="0"/>
              <a:t> B	4,376,053 Drive Days	140 Returns = 1,17% ARR</a:t>
            </a:r>
          </a:p>
          <a:p>
            <a:pPr marL="0" indent="0">
              <a:buNone/>
            </a:pPr>
            <a:endParaRPr lang="en-US" dirty="0"/>
          </a:p>
          <a:p>
            <a:pPr marL="0" indent="0">
              <a:buNone/>
            </a:pPr>
            <a:r>
              <a:rPr lang="en-US" dirty="0"/>
              <a:t>Data Source: https://www.backblaze.com/blog/backblaze-drive-stats-for-q2-2022/</a:t>
            </a:r>
          </a:p>
        </p:txBody>
      </p:sp>
      <p:sp>
        <p:nvSpPr>
          <p:cNvPr id="4" name="Slide Number Placeholder 3">
            <a:extLst>
              <a:ext uri="{FF2B5EF4-FFF2-40B4-BE49-F238E27FC236}">
                <a16:creationId xmlns:a16="http://schemas.microsoft.com/office/drawing/2014/main" id="{10E3F196-B2C0-41D6-8A25-FAA16D1D4F9C}"/>
              </a:ext>
            </a:extLst>
          </p:cNvPr>
          <p:cNvSpPr>
            <a:spLocks noGrp="1"/>
          </p:cNvSpPr>
          <p:nvPr>
            <p:ph type="sldNum" sz="quarter" idx="4"/>
          </p:nvPr>
        </p:nvSpPr>
        <p:spPr/>
        <p:txBody>
          <a:bodyPr/>
          <a:lstStyle/>
          <a:p>
            <a:fld id="{4571BA12-316B-0A40-BB3D-1A8CDD33E9E5}" type="slidenum">
              <a:rPr lang="en-US" smtClean="0"/>
              <a:pPr/>
              <a:t>19</a:t>
            </a:fld>
            <a:endParaRPr lang="en-US" dirty="0"/>
          </a:p>
        </p:txBody>
      </p:sp>
    </p:spTree>
    <p:extLst>
      <p:ext uri="{BB962C8B-B14F-4D97-AF65-F5344CB8AC3E}">
        <p14:creationId xmlns:p14="http://schemas.microsoft.com/office/powerpoint/2010/main" val="253965931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C2DA7C1-C92D-E40B-4B3D-3962925AB186}"/>
              </a:ext>
            </a:extLst>
          </p:cNvPr>
          <p:cNvSpPr>
            <a:spLocks noGrp="1"/>
          </p:cNvSpPr>
          <p:nvPr>
            <p:ph type="sldNum" sz="quarter" idx="4"/>
          </p:nvPr>
        </p:nvSpPr>
        <p:spPr/>
        <p:txBody>
          <a:bodyPr/>
          <a:lstStyle/>
          <a:p>
            <a:fld id="{4571BA12-316B-0A40-BB3D-1A8CDD33E9E5}" type="slidenum">
              <a:rPr lang="en-US" smtClean="0"/>
              <a:pPr/>
              <a:t>2</a:t>
            </a:fld>
            <a:endParaRPr lang="en-US" dirty="0"/>
          </a:p>
        </p:txBody>
      </p:sp>
      <p:sp>
        <p:nvSpPr>
          <p:cNvPr id="2" name="Content Placeholder 1">
            <a:extLst>
              <a:ext uri="{FF2B5EF4-FFF2-40B4-BE49-F238E27FC236}">
                <a16:creationId xmlns:a16="http://schemas.microsoft.com/office/drawing/2014/main" id="{5315DBA2-2F07-462E-AA9A-8A3D7C9599EC}"/>
              </a:ext>
            </a:extLst>
          </p:cNvPr>
          <p:cNvSpPr>
            <a:spLocks noGrp="1"/>
          </p:cNvSpPr>
          <p:nvPr>
            <p:ph type="body" sz="quarter" idx="11"/>
          </p:nvPr>
        </p:nvSpPr>
        <p:spPr>
          <a:xfrm>
            <a:off x="274637" y="394710"/>
            <a:ext cx="10951381" cy="5039055"/>
          </a:xfrm>
        </p:spPr>
        <p:txBody>
          <a:bodyPr anchor="ctr"/>
          <a:lstStyle/>
          <a:p>
            <a:pPr marL="0" lvl="0" indent="0">
              <a:lnSpc>
                <a:spcPct val="150000"/>
              </a:lnSpc>
              <a:spcBef>
                <a:spcPts val="1000"/>
              </a:spcBef>
              <a:buNone/>
            </a:pPr>
            <a:r>
              <a:rPr lang="en-US" sz="1600" dirty="0">
                <a:gradFill>
                  <a:gsLst>
                    <a:gs pos="0">
                      <a:schemeClr val="accent1">
                        <a:lumMod val="70000"/>
                      </a:schemeClr>
                    </a:gs>
                    <a:gs pos="42000">
                      <a:schemeClr val="accent2"/>
                    </a:gs>
                    <a:gs pos="100000">
                      <a:schemeClr val="accent3"/>
                    </a:gs>
                  </a:gsLst>
                  <a:lin ang="10800000" scaled="0"/>
                </a:gradFill>
              </a:rPr>
              <a:t>This presentation contains forward-looking statements that involve risks and uncertainties, including, but not limited to, statements regarding our product and technology portfolio; upcoming flash product releases; data growth and its drivers; business strategies and growth opportunities; and market growth and industry trends. Forward-looking statements should not be read as a guarantee of future performance or results and will not necessarily be accurate indications of the times at, or by, which such performance or results will be achieved, if at all. Forward-looking statements are subject to risks and uncertainties that could cause actual performance or results to differ materially from those expressed in or suggested by the forward-looking statements.</a:t>
            </a:r>
          </a:p>
        </p:txBody>
      </p:sp>
      <p:sp>
        <p:nvSpPr>
          <p:cNvPr id="4" name="Title 3">
            <a:extLst>
              <a:ext uri="{FF2B5EF4-FFF2-40B4-BE49-F238E27FC236}">
                <a16:creationId xmlns:a16="http://schemas.microsoft.com/office/drawing/2014/main" id="{C7F3B257-9769-407E-9577-33775A450232}"/>
              </a:ext>
            </a:extLst>
          </p:cNvPr>
          <p:cNvSpPr>
            <a:spLocks noGrp="1"/>
          </p:cNvSpPr>
          <p:nvPr>
            <p:ph type="title"/>
          </p:nvPr>
        </p:nvSpPr>
        <p:spPr/>
        <p:txBody>
          <a:bodyPr/>
          <a:lstStyle/>
          <a:p>
            <a:r>
              <a:rPr lang="en-US" sz="6600" dirty="0"/>
              <a:t>SAFE HARBOR STATEMENT</a:t>
            </a:r>
          </a:p>
        </p:txBody>
      </p:sp>
    </p:spTree>
    <p:extLst>
      <p:ext uri="{BB962C8B-B14F-4D97-AF65-F5344CB8AC3E}">
        <p14:creationId xmlns:p14="http://schemas.microsoft.com/office/powerpoint/2010/main" val="3594789615"/>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3BD965-3AB6-4FD7-B22B-457B62C3487E}"/>
              </a:ext>
            </a:extLst>
          </p:cNvPr>
          <p:cNvSpPr>
            <a:spLocks noGrp="1"/>
          </p:cNvSpPr>
          <p:nvPr>
            <p:ph type="title"/>
          </p:nvPr>
        </p:nvSpPr>
        <p:spPr>
          <a:xfrm>
            <a:off x="274638" y="941832"/>
            <a:ext cx="11801405" cy="615027"/>
          </a:xfrm>
        </p:spPr>
        <p:txBody>
          <a:bodyPr/>
          <a:lstStyle/>
          <a:p>
            <a:r>
              <a:rPr lang="en-US" dirty="0"/>
              <a:t>					     Ultrastar JBOD Versatility</a:t>
            </a:r>
          </a:p>
        </p:txBody>
      </p:sp>
      <p:sp>
        <p:nvSpPr>
          <p:cNvPr id="4" name="Slide Number Placeholder 3">
            <a:extLst>
              <a:ext uri="{FF2B5EF4-FFF2-40B4-BE49-F238E27FC236}">
                <a16:creationId xmlns:a16="http://schemas.microsoft.com/office/drawing/2014/main" id="{152376B5-123C-4D16-A009-DA7640C2F531}"/>
              </a:ext>
            </a:extLst>
          </p:cNvPr>
          <p:cNvSpPr>
            <a:spLocks noGrp="1"/>
          </p:cNvSpPr>
          <p:nvPr>
            <p:ph type="sldNum" sz="quarter" idx="4"/>
          </p:nvPr>
        </p:nvSpPr>
        <p:spPr/>
        <p:txBody>
          <a:bodyPr/>
          <a:lstStyle/>
          <a:p>
            <a:fld id="{4571BA12-316B-0A40-BB3D-1A8CDD33E9E5}" type="slidenum">
              <a:rPr lang="en-US" smtClean="0"/>
              <a:pPr/>
              <a:t>20</a:t>
            </a:fld>
            <a:endParaRPr lang="en-US" dirty="0"/>
          </a:p>
        </p:txBody>
      </p:sp>
      <p:grpSp>
        <p:nvGrpSpPr>
          <p:cNvPr id="5" name="Group 4">
            <a:extLst>
              <a:ext uri="{FF2B5EF4-FFF2-40B4-BE49-F238E27FC236}">
                <a16:creationId xmlns:a16="http://schemas.microsoft.com/office/drawing/2014/main" id="{A1717583-E997-4E7F-B803-E8A552BC44A6}"/>
              </a:ext>
            </a:extLst>
          </p:cNvPr>
          <p:cNvGrpSpPr/>
          <p:nvPr/>
        </p:nvGrpSpPr>
        <p:grpSpPr>
          <a:xfrm>
            <a:off x="-5472" y="347871"/>
            <a:ext cx="5352723" cy="6482394"/>
            <a:chOff x="561056" y="788192"/>
            <a:chExt cx="4393717" cy="5644511"/>
          </a:xfrm>
        </p:grpSpPr>
        <p:sp>
          <p:nvSpPr>
            <p:cNvPr id="6" name="Rectangle 5">
              <a:extLst>
                <a:ext uri="{FF2B5EF4-FFF2-40B4-BE49-F238E27FC236}">
                  <a16:creationId xmlns:a16="http://schemas.microsoft.com/office/drawing/2014/main" id="{80B64876-81FB-4399-A459-7C1202C0634F}"/>
                </a:ext>
              </a:extLst>
            </p:cNvPr>
            <p:cNvSpPr/>
            <p:nvPr/>
          </p:nvSpPr>
          <p:spPr>
            <a:xfrm>
              <a:off x="4773153" y="3396761"/>
              <a:ext cx="158085" cy="1462468"/>
            </a:xfrm>
            <a:prstGeom prst="rect">
              <a:avLst/>
            </a:prstGeom>
            <a:solidFill>
              <a:schemeClr val="tx2">
                <a:lumMod val="75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descr="Graphical user interface, application&#10;&#10;Description automatically generated">
              <a:extLst>
                <a:ext uri="{FF2B5EF4-FFF2-40B4-BE49-F238E27FC236}">
                  <a16:creationId xmlns:a16="http://schemas.microsoft.com/office/drawing/2014/main" id="{7F6AE45D-BAF7-4DBD-A4E4-B92D56281D9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56965" y="3348172"/>
              <a:ext cx="4046581" cy="1542801"/>
            </a:xfrm>
            <a:prstGeom prst="rect">
              <a:avLst/>
            </a:prstGeom>
          </p:spPr>
        </p:pic>
        <p:sp>
          <p:nvSpPr>
            <p:cNvPr id="8" name="Rectangle 7">
              <a:extLst>
                <a:ext uri="{FF2B5EF4-FFF2-40B4-BE49-F238E27FC236}">
                  <a16:creationId xmlns:a16="http://schemas.microsoft.com/office/drawing/2014/main" id="{E344BB13-B754-41FC-B27D-F87A22DDDB51}"/>
                </a:ext>
              </a:extLst>
            </p:cNvPr>
            <p:cNvSpPr/>
            <p:nvPr/>
          </p:nvSpPr>
          <p:spPr>
            <a:xfrm>
              <a:off x="609227" y="3412957"/>
              <a:ext cx="158085" cy="1462468"/>
            </a:xfrm>
            <a:prstGeom prst="rect">
              <a:avLst/>
            </a:prstGeom>
            <a:solidFill>
              <a:schemeClr val="tx2">
                <a:lumMod val="75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DCCBE6FB-B6F6-41BB-B274-2EC8B973718D}"/>
                </a:ext>
              </a:extLst>
            </p:cNvPr>
            <p:cNvSpPr/>
            <p:nvPr/>
          </p:nvSpPr>
          <p:spPr>
            <a:xfrm>
              <a:off x="4773153" y="4938490"/>
              <a:ext cx="158085" cy="1462468"/>
            </a:xfrm>
            <a:prstGeom prst="rect">
              <a:avLst/>
            </a:prstGeom>
            <a:solidFill>
              <a:schemeClr val="tx2">
                <a:lumMod val="75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9" descr="Graphical user interface, application&#10;&#10;Description automatically generated">
              <a:extLst>
                <a:ext uri="{FF2B5EF4-FFF2-40B4-BE49-F238E27FC236}">
                  <a16:creationId xmlns:a16="http://schemas.microsoft.com/office/drawing/2014/main" id="{27FBE5B1-59C0-4523-B991-044E18B2214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56965" y="4889901"/>
              <a:ext cx="4046581" cy="1542801"/>
            </a:xfrm>
            <a:prstGeom prst="rect">
              <a:avLst/>
            </a:prstGeom>
          </p:spPr>
        </p:pic>
        <p:sp>
          <p:nvSpPr>
            <p:cNvPr id="11" name="Rectangle 10">
              <a:extLst>
                <a:ext uri="{FF2B5EF4-FFF2-40B4-BE49-F238E27FC236}">
                  <a16:creationId xmlns:a16="http://schemas.microsoft.com/office/drawing/2014/main" id="{83879059-B692-42F5-8C61-FA04F1892C6B}"/>
                </a:ext>
              </a:extLst>
            </p:cNvPr>
            <p:cNvSpPr/>
            <p:nvPr/>
          </p:nvSpPr>
          <p:spPr>
            <a:xfrm>
              <a:off x="609227" y="4954686"/>
              <a:ext cx="158085" cy="1462468"/>
            </a:xfrm>
            <a:prstGeom prst="rect">
              <a:avLst/>
            </a:prstGeom>
            <a:solidFill>
              <a:schemeClr val="tx2">
                <a:lumMod val="75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a:extLst>
                <a:ext uri="{FF2B5EF4-FFF2-40B4-BE49-F238E27FC236}">
                  <a16:creationId xmlns:a16="http://schemas.microsoft.com/office/drawing/2014/main" id="{4EC6BF1B-454C-4547-8579-02998D6D4F0F}"/>
                </a:ext>
              </a:extLst>
            </p:cNvPr>
            <p:cNvPicPr>
              <a:picLocks noChangeAspect="1"/>
            </p:cNvPicPr>
            <p:nvPr/>
          </p:nvPicPr>
          <p:blipFill>
            <a:blip r:embed="rId3"/>
            <a:stretch>
              <a:fillRect/>
            </a:stretch>
          </p:blipFill>
          <p:spPr>
            <a:xfrm flipV="1">
              <a:off x="593242" y="788192"/>
              <a:ext cx="4357904" cy="406709"/>
            </a:xfrm>
            <a:prstGeom prst="rect">
              <a:avLst/>
            </a:prstGeom>
          </p:spPr>
        </p:pic>
        <p:pic>
          <p:nvPicPr>
            <p:cNvPr id="13" name="Picture 12">
              <a:extLst>
                <a:ext uri="{FF2B5EF4-FFF2-40B4-BE49-F238E27FC236}">
                  <a16:creationId xmlns:a16="http://schemas.microsoft.com/office/drawing/2014/main" id="{2570F47F-B2B4-403B-9C51-0BEF95DAF974}"/>
                </a:ext>
              </a:extLst>
            </p:cNvPr>
            <p:cNvPicPr>
              <a:picLocks noChangeAspect="1"/>
            </p:cNvPicPr>
            <p:nvPr/>
          </p:nvPicPr>
          <p:blipFill>
            <a:blip r:embed="rId3"/>
            <a:stretch>
              <a:fillRect/>
            </a:stretch>
          </p:blipFill>
          <p:spPr>
            <a:xfrm flipV="1">
              <a:off x="585995" y="1196987"/>
              <a:ext cx="4357904" cy="406709"/>
            </a:xfrm>
            <a:prstGeom prst="rect">
              <a:avLst/>
            </a:prstGeom>
          </p:spPr>
        </p:pic>
        <p:pic>
          <p:nvPicPr>
            <p:cNvPr id="14" name="Picture 13">
              <a:extLst>
                <a:ext uri="{FF2B5EF4-FFF2-40B4-BE49-F238E27FC236}">
                  <a16:creationId xmlns:a16="http://schemas.microsoft.com/office/drawing/2014/main" id="{8B25F015-18AC-489D-B4C9-72CB0C2DAE14}"/>
                </a:ext>
              </a:extLst>
            </p:cNvPr>
            <p:cNvPicPr>
              <a:picLocks noChangeAspect="1"/>
            </p:cNvPicPr>
            <p:nvPr/>
          </p:nvPicPr>
          <p:blipFill>
            <a:blip r:embed="rId3"/>
            <a:stretch>
              <a:fillRect/>
            </a:stretch>
          </p:blipFill>
          <p:spPr>
            <a:xfrm flipV="1">
              <a:off x="561056" y="1623564"/>
              <a:ext cx="4357904" cy="406709"/>
            </a:xfrm>
            <a:prstGeom prst="rect">
              <a:avLst/>
            </a:prstGeom>
          </p:spPr>
        </p:pic>
        <p:pic>
          <p:nvPicPr>
            <p:cNvPr id="15" name="Picture 14">
              <a:extLst>
                <a:ext uri="{FF2B5EF4-FFF2-40B4-BE49-F238E27FC236}">
                  <a16:creationId xmlns:a16="http://schemas.microsoft.com/office/drawing/2014/main" id="{D83B5F81-6804-472E-83FF-810AE322FA47}"/>
                </a:ext>
              </a:extLst>
            </p:cNvPr>
            <p:cNvPicPr>
              <a:picLocks noChangeAspect="1"/>
            </p:cNvPicPr>
            <p:nvPr/>
          </p:nvPicPr>
          <p:blipFill>
            <a:blip r:embed="rId3"/>
            <a:stretch>
              <a:fillRect/>
            </a:stretch>
          </p:blipFill>
          <p:spPr>
            <a:xfrm flipV="1">
              <a:off x="585995" y="2060802"/>
              <a:ext cx="4357904" cy="406709"/>
            </a:xfrm>
            <a:prstGeom prst="rect">
              <a:avLst/>
            </a:prstGeom>
          </p:spPr>
        </p:pic>
        <p:pic>
          <p:nvPicPr>
            <p:cNvPr id="16" name="Picture 15">
              <a:extLst>
                <a:ext uri="{FF2B5EF4-FFF2-40B4-BE49-F238E27FC236}">
                  <a16:creationId xmlns:a16="http://schemas.microsoft.com/office/drawing/2014/main" id="{F2A8FC2A-5154-446B-89AF-A541F615E646}"/>
                </a:ext>
              </a:extLst>
            </p:cNvPr>
            <p:cNvPicPr>
              <a:picLocks noChangeAspect="1"/>
            </p:cNvPicPr>
            <p:nvPr/>
          </p:nvPicPr>
          <p:blipFill>
            <a:blip r:embed="rId3"/>
            <a:stretch>
              <a:fillRect/>
            </a:stretch>
          </p:blipFill>
          <p:spPr>
            <a:xfrm flipV="1">
              <a:off x="596869" y="2487373"/>
              <a:ext cx="4357904" cy="406709"/>
            </a:xfrm>
            <a:prstGeom prst="rect">
              <a:avLst/>
            </a:prstGeom>
          </p:spPr>
        </p:pic>
        <p:pic>
          <p:nvPicPr>
            <p:cNvPr id="17" name="Picture 16">
              <a:extLst>
                <a:ext uri="{FF2B5EF4-FFF2-40B4-BE49-F238E27FC236}">
                  <a16:creationId xmlns:a16="http://schemas.microsoft.com/office/drawing/2014/main" id="{34E2A5DC-1C96-4A8F-9987-2E53A8AC39E7}"/>
                </a:ext>
              </a:extLst>
            </p:cNvPr>
            <p:cNvPicPr>
              <a:picLocks noChangeAspect="1"/>
            </p:cNvPicPr>
            <p:nvPr/>
          </p:nvPicPr>
          <p:blipFill>
            <a:blip r:embed="rId3"/>
            <a:stretch>
              <a:fillRect/>
            </a:stretch>
          </p:blipFill>
          <p:spPr>
            <a:xfrm flipV="1">
              <a:off x="596869" y="2924609"/>
              <a:ext cx="4357904" cy="406709"/>
            </a:xfrm>
            <a:prstGeom prst="rect">
              <a:avLst/>
            </a:prstGeom>
          </p:spPr>
        </p:pic>
        <p:sp>
          <p:nvSpPr>
            <p:cNvPr id="18" name="Rectangle 17">
              <a:extLst>
                <a:ext uri="{FF2B5EF4-FFF2-40B4-BE49-F238E27FC236}">
                  <a16:creationId xmlns:a16="http://schemas.microsoft.com/office/drawing/2014/main" id="{574D1A7B-388D-4928-864A-811F1ADD5523}"/>
                </a:ext>
              </a:extLst>
            </p:cNvPr>
            <p:cNvSpPr/>
            <p:nvPr/>
          </p:nvSpPr>
          <p:spPr>
            <a:xfrm>
              <a:off x="585995" y="788193"/>
              <a:ext cx="4365151" cy="5644510"/>
            </a:xfrm>
            <a:prstGeom prst="rect">
              <a:avLst/>
            </a:prstGeom>
            <a:noFill/>
            <a:ln w="635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9" name="Connector: Elbow 18">
              <a:extLst>
                <a:ext uri="{FF2B5EF4-FFF2-40B4-BE49-F238E27FC236}">
                  <a16:creationId xmlns:a16="http://schemas.microsoft.com/office/drawing/2014/main" id="{1B6BBEB4-F953-413C-A9A7-75138D0F4544}"/>
                </a:ext>
              </a:extLst>
            </p:cNvPr>
            <p:cNvCxnSpPr>
              <a:cxnSpLocks/>
            </p:cNvCxnSpPr>
            <p:nvPr/>
          </p:nvCxnSpPr>
          <p:spPr>
            <a:xfrm rot="5400000">
              <a:off x="1396781" y="2074159"/>
              <a:ext cx="3671891" cy="1640014"/>
            </a:xfrm>
            <a:prstGeom prst="bentConnector3">
              <a:avLst>
                <a:gd name="adj1" fmla="val 3671"/>
              </a:avLst>
            </a:prstGeom>
            <a:ln w="44450">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20" name="Connector: Elbow 19">
              <a:extLst>
                <a:ext uri="{FF2B5EF4-FFF2-40B4-BE49-F238E27FC236}">
                  <a16:creationId xmlns:a16="http://schemas.microsoft.com/office/drawing/2014/main" id="{DA657891-6D53-4C78-92FE-D3458F47EF43}"/>
                </a:ext>
              </a:extLst>
            </p:cNvPr>
            <p:cNvCxnSpPr>
              <a:cxnSpLocks/>
            </p:cNvCxnSpPr>
            <p:nvPr/>
          </p:nvCxnSpPr>
          <p:spPr>
            <a:xfrm rot="10800000" flipV="1">
              <a:off x="1843263" y="3196072"/>
              <a:ext cx="2209467" cy="1541467"/>
            </a:xfrm>
            <a:prstGeom prst="bentConnector3">
              <a:avLst>
                <a:gd name="adj1" fmla="val 100227"/>
              </a:avLst>
            </a:prstGeom>
            <a:ln w="44450">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21" name="Connector: Elbow 20">
              <a:extLst>
                <a:ext uri="{FF2B5EF4-FFF2-40B4-BE49-F238E27FC236}">
                  <a16:creationId xmlns:a16="http://schemas.microsoft.com/office/drawing/2014/main" id="{19D612B2-1AEA-418E-8374-0C04AA69AF89}"/>
                </a:ext>
              </a:extLst>
            </p:cNvPr>
            <p:cNvCxnSpPr>
              <a:cxnSpLocks/>
            </p:cNvCxnSpPr>
            <p:nvPr/>
          </p:nvCxnSpPr>
          <p:spPr>
            <a:xfrm rot="10800000" flipV="1">
              <a:off x="1947622" y="2766211"/>
              <a:ext cx="2109933" cy="1963898"/>
            </a:xfrm>
            <a:prstGeom prst="bentConnector3">
              <a:avLst>
                <a:gd name="adj1" fmla="val 100379"/>
              </a:avLst>
            </a:prstGeom>
            <a:ln w="44450">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5C70A2CA-22CA-48B6-8963-37A0C9B8E110}"/>
                </a:ext>
              </a:extLst>
            </p:cNvPr>
            <p:cNvCxnSpPr>
              <a:cxnSpLocks/>
            </p:cNvCxnSpPr>
            <p:nvPr/>
          </p:nvCxnSpPr>
          <p:spPr>
            <a:xfrm rot="5400000">
              <a:off x="1867403" y="2544781"/>
              <a:ext cx="2384324" cy="1986333"/>
            </a:xfrm>
            <a:prstGeom prst="bentConnector3">
              <a:avLst>
                <a:gd name="adj1" fmla="val 5427"/>
              </a:avLst>
            </a:prstGeom>
            <a:ln w="44450">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23" name="Connector: Elbow 22">
              <a:extLst>
                <a:ext uri="{FF2B5EF4-FFF2-40B4-BE49-F238E27FC236}">
                  <a16:creationId xmlns:a16="http://schemas.microsoft.com/office/drawing/2014/main" id="{143D6B26-A022-48E7-B1D5-1FB0E41E8558}"/>
                </a:ext>
              </a:extLst>
            </p:cNvPr>
            <p:cNvCxnSpPr>
              <a:cxnSpLocks/>
            </p:cNvCxnSpPr>
            <p:nvPr/>
          </p:nvCxnSpPr>
          <p:spPr>
            <a:xfrm rot="5400000">
              <a:off x="1691257" y="2368635"/>
              <a:ext cx="2829704" cy="1893243"/>
            </a:xfrm>
            <a:prstGeom prst="bentConnector3">
              <a:avLst>
                <a:gd name="adj1" fmla="val 4981"/>
              </a:avLst>
            </a:prstGeom>
            <a:ln w="44450">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24" name="Connector: Elbow 23">
              <a:extLst>
                <a:ext uri="{FF2B5EF4-FFF2-40B4-BE49-F238E27FC236}">
                  <a16:creationId xmlns:a16="http://schemas.microsoft.com/office/drawing/2014/main" id="{78E6EF77-99F4-415A-9A77-7BFF6452BF88}"/>
                </a:ext>
              </a:extLst>
            </p:cNvPr>
            <p:cNvCxnSpPr>
              <a:cxnSpLocks/>
            </p:cNvCxnSpPr>
            <p:nvPr/>
          </p:nvCxnSpPr>
          <p:spPr>
            <a:xfrm rot="5400000">
              <a:off x="1557482" y="2234861"/>
              <a:ext cx="3242705" cy="1747796"/>
            </a:xfrm>
            <a:prstGeom prst="bentConnector3">
              <a:avLst>
                <a:gd name="adj1" fmla="val 3803"/>
              </a:avLst>
            </a:prstGeom>
            <a:ln w="44450">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25" name="Connector: Elbow 24">
              <a:extLst>
                <a:ext uri="{FF2B5EF4-FFF2-40B4-BE49-F238E27FC236}">
                  <a16:creationId xmlns:a16="http://schemas.microsoft.com/office/drawing/2014/main" id="{768F110E-828F-4C52-A466-DD441553A8C1}"/>
                </a:ext>
              </a:extLst>
            </p:cNvPr>
            <p:cNvCxnSpPr>
              <a:cxnSpLocks/>
            </p:cNvCxnSpPr>
            <p:nvPr/>
          </p:nvCxnSpPr>
          <p:spPr>
            <a:xfrm rot="5400000">
              <a:off x="2219520" y="2528939"/>
              <a:ext cx="3671220" cy="731120"/>
            </a:xfrm>
            <a:prstGeom prst="bentConnector3">
              <a:avLst>
                <a:gd name="adj1" fmla="val 5441"/>
              </a:avLst>
            </a:prstGeom>
            <a:ln w="44450">
              <a:solidFill>
                <a:schemeClr val="accent3">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6" name="Connector: Elbow 25">
              <a:extLst>
                <a:ext uri="{FF2B5EF4-FFF2-40B4-BE49-F238E27FC236}">
                  <a16:creationId xmlns:a16="http://schemas.microsoft.com/office/drawing/2014/main" id="{04629A07-27BB-459B-A8A6-8BE3459BD592}"/>
                </a:ext>
              </a:extLst>
            </p:cNvPr>
            <p:cNvCxnSpPr>
              <a:cxnSpLocks/>
            </p:cNvCxnSpPr>
            <p:nvPr/>
          </p:nvCxnSpPr>
          <p:spPr>
            <a:xfrm rot="5400000">
              <a:off x="3010017" y="3326869"/>
              <a:ext cx="1524612" cy="1296729"/>
            </a:xfrm>
            <a:prstGeom prst="bentConnector3">
              <a:avLst>
                <a:gd name="adj1" fmla="val 12887"/>
              </a:avLst>
            </a:prstGeom>
            <a:ln w="44450">
              <a:solidFill>
                <a:schemeClr val="accent3">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7" name="Connector: Elbow 26">
              <a:extLst>
                <a:ext uri="{FF2B5EF4-FFF2-40B4-BE49-F238E27FC236}">
                  <a16:creationId xmlns:a16="http://schemas.microsoft.com/office/drawing/2014/main" id="{D7CAF428-F76F-4507-93D5-D2DC3809F149}"/>
                </a:ext>
              </a:extLst>
            </p:cNvPr>
            <p:cNvCxnSpPr>
              <a:cxnSpLocks/>
            </p:cNvCxnSpPr>
            <p:nvPr/>
          </p:nvCxnSpPr>
          <p:spPr>
            <a:xfrm rot="5400000">
              <a:off x="2819469" y="3137654"/>
              <a:ext cx="1995620" cy="1206817"/>
            </a:xfrm>
            <a:prstGeom prst="bentConnector3">
              <a:avLst>
                <a:gd name="adj1" fmla="val 12377"/>
              </a:avLst>
            </a:prstGeom>
            <a:ln w="44450">
              <a:solidFill>
                <a:schemeClr val="accent3">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8" name="Connector: Elbow 27">
              <a:extLst>
                <a:ext uri="{FF2B5EF4-FFF2-40B4-BE49-F238E27FC236}">
                  <a16:creationId xmlns:a16="http://schemas.microsoft.com/office/drawing/2014/main" id="{C3F0CA7E-2199-4162-9FB9-269D431A6E10}"/>
                </a:ext>
              </a:extLst>
            </p:cNvPr>
            <p:cNvCxnSpPr>
              <a:cxnSpLocks/>
            </p:cNvCxnSpPr>
            <p:nvPr/>
          </p:nvCxnSpPr>
          <p:spPr>
            <a:xfrm rot="5400000">
              <a:off x="2700113" y="3018298"/>
              <a:ext cx="2392417" cy="1048733"/>
            </a:xfrm>
            <a:prstGeom prst="bentConnector3">
              <a:avLst>
                <a:gd name="adj1" fmla="val 8913"/>
              </a:avLst>
            </a:prstGeom>
            <a:ln w="44450">
              <a:solidFill>
                <a:schemeClr val="accent3">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9" name="Connector: Elbow 28">
              <a:extLst>
                <a:ext uri="{FF2B5EF4-FFF2-40B4-BE49-F238E27FC236}">
                  <a16:creationId xmlns:a16="http://schemas.microsoft.com/office/drawing/2014/main" id="{DE49D25C-1000-4A9F-ACDC-D75F0C8EF624}"/>
                </a:ext>
              </a:extLst>
            </p:cNvPr>
            <p:cNvCxnSpPr>
              <a:cxnSpLocks/>
            </p:cNvCxnSpPr>
            <p:nvPr/>
          </p:nvCxnSpPr>
          <p:spPr>
            <a:xfrm rot="5400000">
              <a:off x="2522309" y="2840493"/>
              <a:ext cx="2829705" cy="967054"/>
            </a:xfrm>
            <a:prstGeom prst="bentConnector3">
              <a:avLst>
                <a:gd name="adj1" fmla="val 7829"/>
              </a:avLst>
            </a:prstGeom>
            <a:ln w="44450">
              <a:solidFill>
                <a:schemeClr val="accent3">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 name="Connector: Elbow 29">
              <a:extLst>
                <a:ext uri="{FF2B5EF4-FFF2-40B4-BE49-F238E27FC236}">
                  <a16:creationId xmlns:a16="http://schemas.microsoft.com/office/drawing/2014/main" id="{13287824-22E3-4B4F-B17B-45986C075013}"/>
                </a:ext>
              </a:extLst>
            </p:cNvPr>
            <p:cNvCxnSpPr>
              <a:cxnSpLocks/>
            </p:cNvCxnSpPr>
            <p:nvPr/>
          </p:nvCxnSpPr>
          <p:spPr>
            <a:xfrm rot="5400000">
              <a:off x="2376230" y="2693082"/>
              <a:ext cx="3257562" cy="831354"/>
            </a:xfrm>
            <a:prstGeom prst="bentConnector3">
              <a:avLst>
                <a:gd name="adj1" fmla="val 6464"/>
              </a:avLst>
            </a:prstGeom>
            <a:ln w="44450">
              <a:solidFill>
                <a:schemeClr val="accent3">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1" name="Connector: Elbow 30">
              <a:extLst>
                <a:ext uri="{FF2B5EF4-FFF2-40B4-BE49-F238E27FC236}">
                  <a16:creationId xmlns:a16="http://schemas.microsoft.com/office/drawing/2014/main" id="{DF195506-47F2-4F32-8428-79115023C2B6}"/>
                </a:ext>
              </a:extLst>
            </p:cNvPr>
            <p:cNvCxnSpPr>
              <a:cxnSpLocks/>
            </p:cNvCxnSpPr>
            <p:nvPr/>
          </p:nvCxnSpPr>
          <p:spPr>
            <a:xfrm rot="5400000">
              <a:off x="719928" y="2612824"/>
              <a:ext cx="5381644" cy="1929554"/>
            </a:xfrm>
            <a:prstGeom prst="bentConnector3">
              <a:avLst>
                <a:gd name="adj1" fmla="val -973"/>
              </a:avLst>
            </a:prstGeom>
            <a:ln w="444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2" name="Connector: Elbow 31">
              <a:extLst>
                <a:ext uri="{FF2B5EF4-FFF2-40B4-BE49-F238E27FC236}">
                  <a16:creationId xmlns:a16="http://schemas.microsoft.com/office/drawing/2014/main" id="{76EC21A6-A641-4C77-8E75-0A321358C30E}"/>
                </a:ext>
              </a:extLst>
            </p:cNvPr>
            <p:cNvCxnSpPr>
              <a:cxnSpLocks/>
            </p:cNvCxnSpPr>
            <p:nvPr/>
          </p:nvCxnSpPr>
          <p:spPr>
            <a:xfrm rot="5400000">
              <a:off x="1224882" y="3384718"/>
              <a:ext cx="5367354" cy="371473"/>
            </a:xfrm>
            <a:prstGeom prst="bentConnector3">
              <a:avLst>
                <a:gd name="adj1" fmla="val 1358"/>
              </a:avLst>
            </a:prstGeom>
            <a:ln w="44450">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33" name="Connector: Elbow 32">
              <a:extLst>
                <a:ext uri="{FF2B5EF4-FFF2-40B4-BE49-F238E27FC236}">
                  <a16:creationId xmlns:a16="http://schemas.microsoft.com/office/drawing/2014/main" id="{D792F961-A3D5-4014-AE0C-6304113821C8}"/>
                </a:ext>
              </a:extLst>
            </p:cNvPr>
            <p:cNvCxnSpPr>
              <a:cxnSpLocks/>
            </p:cNvCxnSpPr>
            <p:nvPr/>
          </p:nvCxnSpPr>
          <p:spPr>
            <a:xfrm rot="5400000">
              <a:off x="1500957" y="3401280"/>
              <a:ext cx="3250131" cy="2499011"/>
            </a:xfrm>
            <a:prstGeom prst="bentConnector3">
              <a:avLst>
                <a:gd name="adj1" fmla="val -2459"/>
              </a:avLst>
            </a:prstGeom>
            <a:ln w="444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4" name="Connector: Elbow 33">
              <a:extLst>
                <a:ext uri="{FF2B5EF4-FFF2-40B4-BE49-F238E27FC236}">
                  <a16:creationId xmlns:a16="http://schemas.microsoft.com/office/drawing/2014/main" id="{6EED0DB5-B145-4695-9EDA-503E159F0CAC}"/>
                </a:ext>
              </a:extLst>
            </p:cNvPr>
            <p:cNvCxnSpPr>
              <a:cxnSpLocks/>
            </p:cNvCxnSpPr>
            <p:nvPr/>
          </p:nvCxnSpPr>
          <p:spPr>
            <a:xfrm rot="5400000">
              <a:off x="2007833" y="4175100"/>
              <a:ext cx="3235840" cy="937084"/>
            </a:xfrm>
            <a:prstGeom prst="bentConnector3">
              <a:avLst>
                <a:gd name="adj1" fmla="val 2519"/>
              </a:avLst>
            </a:prstGeom>
            <a:ln w="44450">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35" name="Connector: Elbow 34">
              <a:extLst>
                <a:ext uri="{FF2B5EF4-FFF2-40B4-BE49-F238E27FC236}">
                  <a16:creationId xmlns:a16="http://schemas.microsoft.com/office/drawing/2014/main" id="{9A503A62-2B49-44EB-8803-D5814A38CAF0}"/>
                </a:ext>
              </a:extLst>
            </p:cNvPr>
            <p:cNvCxnSpPr>
              <a:cxnSpLocks/>
            </p:cNvCxnSpPr>
            <p:nvPr/>
          </p:nvCxnSpPr>
          <p:spPr>
            <a:xfrm rot="5400000">
              <a:off x="1839425" y="4008024"/>
              <a:ext cx="3662569" cy="847172"/>
            </a:xfrm>
            <a:prstGeom prst="bentConnector3">
              <a:avLst>
                <a:gd name="adj1" fmla="val 1997"/>
              </a:avLst>
            </a:prstGeom>
            <a:ln w="44450">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36" name="Connector: Elbow 35">
              <a:extLst>
                <a:ext uri="{FF2B5EF4-FFF2-40B4-BE49-F238E27FC236}">
                  <a16:creationId xmlns:a16="http://schemas.microsoft.com/office/drawing/2014/main" id="{8FC9912B-162A-4BA1-9875-0D70773CCB28}"/>
                </a:ext>
              </a:extLst>
            </p:cNvPr>
            <p:cNvCxnSpPr>
              <a:cxnSpLocks/>
            </p:cNvCxnSpPr>
            <p:nvPr/>
          </p:nvCxnSpPr>
          <p:spPr>
            <a:xfrm rot="5400000">
              <a:off x="1704157" y="3872757"/>
              <a:ext cx="4091192" cy="689085"/>
            </a:xfrm>
            <a:prstGeom prst="bentConnector3">
              <a:avLst>
                <a:gd name="adj1" fmla="val 1722"/>
              </a:avLst>
            </a:prstGeom>
            <a:ln w="44450">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37" name="Connector: Elbow 36">
              <a:extLst>
                <a:ext uri="{FF2B5EF4-FFF2-40B4-BE49-F238E27FC236}">
                  <a16:creationId xmlns:a16="http://schemas.microsoft.com/office/drawing/2014/main" id="{F14DB672-BED2-4011-941C-14A9C3F9485E}"/>
                </a:ext>
              </a:extLst>
            </p:cNvPr>
            <p:cNvCxnSpPr>
              <a:cxnSpLocks/>
            </p:cNvCxnSpPr>
            <p:nvPr/>
          </p:nvCxnSpPr>
          <p:spPr>
            <a:xfrm rot="5400000">
              <a:off x="1525920" y="3694518"/>
              <a:ext cx="4529344" cy="607407"/>
            </a:xfrm>
            <a:prstGeom prst="bentConnector3">
              <a:avLst>
                <a:gd name="adj1" fmla="val 1496"/>
              </a:avLst>
            </a:prstGeom>
            <a:ln w="44450">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38" name="Connector: Elbow 37">
              <a:extLst>
                <a:ext uri="{FF2B5EF4-FFF2-40B4-BE49-F238E27FC236}">
                  <a16:creationId xmlns:a16="http://schemas.microsoft.com/office/drawing/2014/main" id="{F6588AE2-C32C-46CF-943D-A2B9A405B3C1}"/>
                </a:ext>
              </a:extLst>
            </p:cNvPr>
            <p:cNvCxnSpPr>
              <a:cxnSpLocks/>
            </p:cNvCxnSpPr>
            <p:nvPr/>
          </p:nvCxnSpPr>
          <p:spPr>
            <a:xfrm rot="5400000">
              <a:off x="1377741" y="3545008"/>
              <a:ext cx="4961400" cy="471709"/>
            </a:xfrm>
            <a:prstGeom prst="bentConnector3">
              <a:avLst>
                <a:gd name="adj1" fmla="val 1729"/>
              </a:avLst>
            </a:prstGeom>
            <a:ln w="44450">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39" name="Connector: Elbow 38">
              <a:extLst>
                <a:ext uri="{FF2B5EF4-FFF2-40B4-BE49-F238E27FC236}">
                  <a16:creationId xmlns:a16="http://schemas.microsoft.com/office/drawing/2014/main" id="{E6626CF2-F9AC-47BD-92D4-12E556A2CF9D}"/>
                </a:ext>
              </a:extLst>
            </p:cNvPr>
            <p:cNvCxnSpPr>
              <a:cxnSpLocks/>
            </p:cNvCxnSpPr>
            <p:nvPr/>
          </p:nvCxnSpPr>
          <p:spPr>
            <a:xfrm rot="5400000">
              <a:off x="1337358" y="3239017"/>
              <a:ext cx="3676861" cy="2399476"/>
            </a:xfrm>
            <a:prstGeom prst="bentConnector3">
              <a:avLst>
                <a:gd name="adj1" fmla="val -2070"/>
              </a:avLst>
            </a:prstGeom>
            <a:ln w="444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0" name="Connector: Elbow 39">
              <a:extLst>
                <a:ext uri="{FF2B5EF4-FFF2-40B4-BE49-F238E27FC236}">
                  <a16:creationId xmlns:a16="http://schemas.microsoft.com/office/drawing/2014/main" id="{6734BB4C-B535-40CB-A023-2748694D5CB5}"/>
                </a:ext>
              </a:extLst>
            </p:cNvPr>
            <p:cNvCxnSpPr>
              <a:cxnSpLocks/>
            </p:cNvCxnSpPr>
            <p:nvPr/>
          </p:nvCxnSpPr>
          <p:spPr>
            <a:xfrm rot="5400000">
              <a:off x="1189229" y="3082127"/>
              <a:ext cx="4096722" cy="2275874"/>
            </a:xfrm>
            <a:prstGeom prst="bentConnector3">
              <a:avLst>
                <a:gd name="adj1" fmla="val -2081"/>
              </a:avLst>
            </a:prstGeom>
            <a:ln w="444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1" name="Connector: Elbow 40">
              <a:extLst>
                <a:ext uri="{FF2B5EF4-FFF2-40B4-BE49-F238E27FC236}">
                  <a16:creationId xmlns:a16="http://schemas.microsoft.com/office/drawing/2014/main" id="{0D9522BA-9552-48C2-BD2B-E9C5FF625EE8}"/>
                </a:ext>
              </a:extLst>
            </p:cNvPr>
            <p:cNvCxnSpPr>
              <a:cxnSpLocks/>
            </p:cNvCxnSpPr>
            <p:nvPr/>
          </p:nvCxnSpPr>
          <p:spPr>
            <a:xfrm rot="5400000">
              <a:off x="1016698" y="2909593"/>
              <a:ext cx="4534873" cy="2182786"/>
            </a:xfrm>
            <a:prstGeom prst="bentConnector3">
              <a:avLst>
                <a:gd name="adj1" fmla="val -1985"/>
              </a:avLst>
            </a:prstGeom>
            <a:ln w="444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2" name="Connector: Elbow 41">
              <a:extLst>
                <a:ext uri="{FF2B5EF4-FFF2-40B4-BE49-F238E27FC236}">
                  <a16:creationId xmlns:a16="http://schemas.microsoft.com/office/drawing/2014/main" id="{BBD1D303-6EEF-4428-BC38-3FB8FCED3B31}"/>
                </a:ext>
              </a:extLst>
            </p:cNvPr>
            <p:cNvCxnSpPr>
              <a:cxnSpLocks/>
            </p:cNvCxnSpPr>
            <p:nvPr/>
          </p:nvCxnSpPr>
          <p:spPr>
            <a:xfrm rot="5400000">
              <a:off x="872728" y="2765624"/>
              <a:ext cx="4968261" cy="2037338"/>
            </a:xfrm>
            <a:prstGeom prst="bentConnector3">
              <a:avLst>
                <a:gd name="adj1" fmla="val -1572"/>
              </a:avLst>
            </a:prstGeom>
            <a:ln w="44450">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43" name="Rectangle 42">
            <a:extLst>
              <a:ext uri="{FF2B5EF4-FFF2-40B4-BE49-F238E27FC236}">
                <a16:creationId xmlns:a16="http://schemas.microsoft.com/office/drawing/2014/main" id="{B1511772-61F5-48E1-89DE-A351A16465FF}"/>
              </a:ext>
            </a:extLst>
          </p:cNvPr>
          <p:cNvSpPr/>
          <p:nvPr/>
        </p:nvSpPr>
        <p:spPr>
          <a:xfrm>
            <a:off x="8478389" y="2626841"/>
            <a:ext cx="3687107" cy="2600712"/>
          </a:xfrm>
          <a:prstGeom prst="rect">
            <a:avLst/>
          </a:prstGeom>
        </p:spPr>
        <p:txBody>
          <a:bodyPr wrap="square">
            <a:spAutoFit/>
          </a:bodyPr>
          <a:lstStyle/>
          <a:p>
            <a:pPr marL="241300" indent="-227013">
              <a:spcAft>
                <a:spcPts val="600"/>
              </a:spcAft>
              <a:buClr>
                <a:srgbClr val="406C9D"/>
              </a:buClr>
              <a:buFont typeface="Arial" charset="0"/>
              <a:buChar char="•"/>
              <a:defRPr/>
            </a:pPr>
            <a:r>
              <a:rPr lang="en-US" altLang="ja-JP" sz="1600" b="1" dirty="0"/>
              <a:t>18/6 Erasure Coding</a:t>
            </a:r>
          </a:p>
          <a:p>
            <a:pPr marL="698500" lvl="1" indent="-227013">
              <a:spcAft>
                <a:spcPts val="600"/>
              </a:spcAft>
              <a:buClr>
                <a:srgbClr val="406C9D"/>
              </a:buClr>
              <a:buFont typeface="Arial" charset="0"/>
              <a:buChar char="•"/>
              <a:defRPr/>
            </a:pPr>
            <a:r>
              <a:rPr lang="en-US" altLang="ja-JP" sz="1600" dirty="0"/>
              <a:t>1,670TB net storage</a:t>
            </a:r>
          </a:p>
          <a:p>
            <a:pPr marL="698500" lvl="1" indent="-227013">
              <a:spcAft>
                <a:spcPts val="600"/>
              </a:spcAft>
              <a:buClr>
                <a:srgbClr val="406C9D"/>
              </a:buClr>
              <a:buFont typeface="Arial" charset="0"/>
              <a:buChar char="•"/>
              <a:defRPr/>
            </a:pPr>
            <a:r>
              <a:rPr lang="en-US" altLang="ja-JP" sz="1600" dirty="0"/>
              <a:t>Any two Servers may fail</a:t>
            </a:r>
          </a:p>
          <a:p>
            <a:pPr marL="698500" lvl="1" indent="-227013">
              <a:spcAft>
                <a:spcPts val="600"/>
              </a:spcAft>
              <a:buClr>
                <a:srgbClr val="406C9D"/>
              </a:buClr>
              <a:buFont typeface="Arial" charset="0"/>
              <a:buChar char="•"/>
              <a:defRPr/>
            </a:pPr>
            <a:r>
              <a:rPr lang="en-US" altLang="ja-JP" sz="1600" dirty="0"/>
              <a:t>Up to 7 HBAs may fail</a:t>
            </a:r>
          </a:p>
          <a:p>
            <a:pPr marL="698500" lvl="1" indent="-227013">
              <a:spcAft>
                <a:spcPts val="600"/>
              </a:spcAft>
              <a:buClr>
                <a:srgbClr val="406C9D"/>
              </a:buClr>
              <a:buFont typeface="Arial" charset="0"/>
              <a:buChar char="•"/>
              <a:defRPr/>
            </a:pPr>
            <a:r>
              <a:rPr lang="en-US" altLang="ja-JP" sz="1600" dirty="0"/>
              <a:t>Any 6 HDDs may fail</a:t>
            </a:r>
          </a:p>
          <a:p>
            <a:pPr marL="698500" lvl="1" indent="-227013">
              <a:spcAft>
                <a:spcPts val="600"/>
              </a:spcAft>
              <a:buClr>
                <a:srgbClr val="406C9D"/>
              </a:buClr>
              <a:buFont typeface="Arial" charset="0"/>
              <a:buChar char="•"/>
              <a:defRPr/>
            </a:pPr>
            <a:r>
              <a:rPr lang="en-US" altLang="ja-JP" sz="1600" dirty="0"/>
              <a:t>Up to 4 fans may fail</a:t>
            </a:r>
          </a:p>
          <a:p>
            <a:pPr marL="698500" lvl="1" indent="-227013">
              <a:spcAft>
                <a:spcPts val="600"/>
              </a:spcAft>
              <a:buClr>
                <a:srgbClr val="406C9D"/>
              </a:buClr>
              <a:buFont typeface="Arial" charset="0"/>
              <a:buChar char="•"/>
              <a:defRPr/>
            </a:pPr>
            <a:r>
              <a:rPr lang="en-US" altLang="ja-JP" sz="1600" dirty="0"/>
              <a:t>Up to 2 PSUs may fail</a:t>
            </a:r>
          </a:p>
          <a:p>
            <a:pPr marL="698500" lvl="1" indent="-227013">
              <a:spcAft>
                <a:spcPts val="600"/>
              </a:spcAft>
              <a:buClr>
                <a:srgbClr val="406C9D"/>
              </a:buClr>
              <a:buFont typeface="Arial" charset="0"/>
              <a:buChar char="•"/>
              <a:defRPr/>
            </a:pPr>
            <a:r>
              <a:rPr lang="en-US" altLang="ja-JP" sz="1600" dirty="0"/>
              <a:t>Up to 2 IOMs may fail</a:t>
            </a:r>
          </a:p>
        </p:txBody>
      </p:sp>
      <p:sp>
        <p:nvSpPr>
          <p:cNvPr id="44" name="Rectangle 43">
            <a:extLst>
              <a:ext uri="{FF2B5EF4-FFF2-40B4-BE49-F238E27FC236}">
                <a16:creationId xmlns:a16="http://schemas.microsoft.com/office/drawing/2014/main" id="{AD17A730-B33E-4F60-AA2C-5CDB2F83A3D5}"/>
              </a:ext>
            </a:extLst>
          </p:cNvPr>
          <p:cNvSpPr/>
          <p:nvPr/>
        </p:nvSpPr>
        <p:spPr>
          <a:xfrm>
            <a:off x="5430387" y="2262407"/>
            <a:ext cx="3989434" cy="3947234"/>
          </a:xfrm>
          <a:prstGeom prst="rect">
            <a:avLst/>
          </a:prstGeom>
        </p:spPr>
        <p:txBody>
          <a:bodyPr wrap="square">
            <a:spAutoFit/>
          </a:bodyPr>
          <a:lstStyle/>
          <a:p>
            <a:pPr lvl="0">
              <a:lnSpc>
                <a:spcPct val="110000"/>
              </a:lnSpc>
              <a:spcBef>
                <a:spcPts val="600"/>
              </a:spcBef>
              <a:spcAft>
                <a:spcPts val="300"/>
              </a:spcAft>
              <a:defRPr/>
            </a:pPr>
            <a:r>
              <a:rPr lang="en-US" sz="2000" b="1" kern="0" dirty="0"/>
              <a:t>Key Features (1.67PB in 14U)</a:t>
            </a:r>
          </a:p>
          <a:p>
            <a:pPr marL="241300" indent="-227013">
              <a:spcAft>
                <a:spcPts val="600"/>
              </a:spcAft>
              <a:buClr>
                <a:srgbClr val="406C9D"/>
              </a:buClr>
              <a:buFont typeface="Arial" charset="0"/>
              <a:buChar char="•"/>
              <a:defRPr/>
            </a:pPr>
            <a:r>
              <a:rPr lang="en-US" altLang="ja-JP" sz="1600" b="1" dirty="0"/>
              <a:t>6x 1U Servers</a:t>
            </a:r>
          </a:p>
          <a:p>
            <a:pPr marL="698500" lvl="1" indent="-227013">
              <a:spcAft>
                <a:spcPts val="600"/>
              </a:spcAft>
              <a:buClr>
                <a:srgbClr val="406C9D"/>
              </a:buClr>
              <a:buFont typeface="Arial" charset="0"/>
              <a:buChar char="•"/>
              <a:defRPr/>
            </a:pPr>
            <a:r>
              <a:rPr lang="en-US" altLang="ja-JP" sz="1600" dirty="0"/>
              <a:t>24+ Cores each</a:t>
            </a:r>
          </a:p>
          <a:p>
            <a:pPr marL="698500" lvl="1" indent="-227013">
              <a:spcAft>
                <a:spcPts val="600"/>
              </a:spcAft>
              <a:buClr>
                <a:srgbClr val="406C9D"/>
              </a:buClr>
              <a:buFont typeface="Arial" charset="0"/>
              <a:buChar char="•"/>
              <a:defRPr/>
            </a:pPr>
            <a:r>
              <a:rPr lang="en-US" altLang="ja-JP" sz="1600" dirty="0"/>
              <a:t>64GB of RAM</a:t>
            </a:r>
          </a:p>
          <a:p>
            <a:pPr marL="698500" lvl="1" indent="-227013">
              <a:spcAft>
                <a:spcPts val="600"/>
              </a:spcAft>
              <a:buClr>
                <a:srgbClr val="406C9D"/>
              </a:buClr>
              <a:buFont typeface="Arial" charset="0"/>
              <a:buChar char="•"/>
              <a:defRPr/>
            </a:pPr>
            <a:r>
              <a:rPr lang="en-US" altLang="ja-JP" sz="1600" dirty="0"/>
              <a:t>2x Dual Port HBA</a:t>
            </a:r>
          </a:p>
          <a:p>
            <a:pPr marL="698500" lvl="1" indent="-227013">
              <a:spcAft>
                <a:spcPts val="600"/>
              </a:spcAft>
              <a:buClr>
                <a:srgbClr val="406C9D"/>
              </a:buClr>
              <a:buFont typeface="Arial" charset="0"/>
              <a:buChar char="•"/>
              <a:defRPr/>
            </a:pPr>
            <a:r>
              <a:rPr lang="en-US" altLang="ja-JP" sz="1600" dirty="0"/>
              <a:t>Optional SSD Caching</a:t>
            </a:r>
          </a:p>
          <a:p>
            <a:pPr marL="241300" indent="-227013">
              <a:spcAft>
                <a:spcPts val="600"/>
              </a:spcAft>
              <a:buClr>
                <a:srgbClr val="406C9D"/>
              </a:buClr>
              <a:buFont typeface="Arial" charset="0"/>
              <a:buChar char="•"/>
              <a:defRPr/>
            </a:pPr>
            <a:r>
              <a:rPr lang="en-US" altLang="ja-JP" sz="1600" b="1" dirty="0"/>
              <a:t>2x Ultrastar Data60 JBOD</a:t>
            </a:r>
          </a:p>
          <a:p>
            <a:pPr marL="698500" lvl="1" indent="-227013">
              <a:spcAft>
                <a:spcPts val="600"/>
              </a:spcAft>
              <a:buClr>
                <a:srgbClr val="406C9D"/>
              </a:buClr>
              <a:buFont typeface="Arial" charset="0"/>
              <a:buChar char="•"/>
              <a:defRPr/>
            </a:pPr>
            <a:r>
              <a:rPr lang="en-US" altLang="ja-JP" sz="1600" dirty="0"/>
              <a:t>60x 22TB SAS HDD</a:t>
            </a:r>
          </a:p>
          <a:p>
            <a:pPr marL="698500" lvl="1" indent="-227013">
              <a:spcAft>
                <a:spcPts val="600"/>
              </a:spcAft>
              <a:buClr>
                <a:srgbClr val="406C9D"/>
              </a:buClr>
              <a:buFont typeface="Arial" charset="0"/>
              <a:buChar char="•"/>
              <a:defRPr/>
            </a:pPr>
            <a:r>
              <a:rPr lang="en-US" altLang="ja-JP" sz="1600" dirty="0"/>
              <a:t>Shared 2x10 per Server</a:t>
            </a:r>
          </a:p>
          <a:p>
            <a:pPr marL="1155700" lvl="2" indent="-227013">
              <a:spcAft>
                <a:spcPts val="600"/>
              </a:spcAft>
              <a:buClr>
                <a:srgbClr val="406C9D"/>
              </a:buClr>
              <a:buFont typeface="Arial" charset="0"/>
              <a:buChar char="•"/>
              <a:defRPr/>
            </a:pPr>
            <a:r>
              <a:rPr lang="en-US" altLang="ja-JP" sz="1600" dirty="0"/>
              <a:t>T10 Zoning</a:t>
            </a:r>
          </a:p>
          <a:p>
            <a:pPr marL="698500" lvl="1" indent="-227013">
              <a:spcAft>
                <a:spcPts val="600"/>
              </a:spcAft>
              <a:buClr>
                <a:srgbClr val="406C9D"/>
              </a:buClr>
              <a:buFont typeface="Arial" charset="0"/>
              <a:buChar char="•"/>
              <a:defRPr/>
            </a:pPr>
            <a:r>
              <a:rPr lang="en-US" altLang="ja-JP" sz="1600" dirty="0"/>
              <a:t>Redundant IOMs / Data Paths</a:t>
            </a:r>
          </a:p>
          <a:p>
            <a:pPr marL="698500" lvl="1" indent="-227013">
              <a:spcAft>
                <a:spcPts val="600"/>
              </a:spcAft>
              <a:buClr>
                <a:srgbClr val="406C9D"/>
              </a:buClr>
              <a:buFont typeface="Arial" charset="0"/>
              <a:buChar char="•"/>
              <a:defRPr/>
            </a:pPr>
            <a:r>
              <a:rPr lang="en-US" altLang="ja-JP" sz="1600" dirty="0"/>
              <a:t>Redundant PSUs</a:t>
            </a:r>
          </a:p>
        </p:txBody>
      </p:sp>
    </p:spTree>
    <p:extLst>
      <p:ext uri="{BB962C8B-B14F-4D97-AF65-F5344CB8AC3E}">
        <p14:creationId xmlns:p14="http://schemas.microsoft.com/office/powerpoint/2010/main" val="12607654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6882C9-D19B-1641-B4F3-0895140DB71C}"/>
              </a:ext>
            </a:extLst>
          </p:cNvPr>
          <p:cNvSpPr>
            <a:spLocks noGrp="1"/>
          </p:cNvSpPr>
          <p:nvPr>
            <p:ph type="title"/>
          </p:nvPr>
        </p:nvSpPr>
        <p:spPr/>
        <p:txBody>
          <a:bodyPr/>
          <a:lstStyle/>
          <a:p>
            <a:r>
              <a:rPr lang="en-US" sz="4000" dirty="0"/>
              <a:t>OpenFlex™ Data24 </a:t>
            </a:r>
            <a:r>
              <a:rPr lang="en-US" sz="4000" dirty="0" err="1"/>
              <a:t>NVMe-oF</a:t>
            </a:r>
            <a:r>
              <a:rPr lang="en-US" sz="4000" dirty="0"/>
              <a:t> JBOF</a:t>
            </a:r>
          </a:p>
        </p:txBody>
      </p:sp>
      <p:sp>
        <p:nvSpPr>
          <p:cNvPr id="4" name="Text Placeholder 3">
            <a:extLst>
              <a:ext uri="{FF2B5EF4-FFF2-40B4-BE49-F238E27FC236}">
                <a16:creationId xmlns:a16="http://schemas.microsoft.com/office/drawing/2014/main" id="{E9B286FB-CB0D-BF4A-A5D7-87B948E0B264}"/>
              </a:ext>
            </a:extLst>
          </p:cNvPr>
          <p:cNvSpPr>
            <a:spLocks noGrp="1"/>
          </p:cNvSpPr>
          <p:nvPr>
            <p:ph type="body" sz="quarter" idx="12"/>
          </p:nvPr>
        </p:nvSpPr>
        <p:spPr/>
        <p:txBody>
          <a:bodyPr/>
          <a:lstStyle/>
          <a:p>
            <a:pPr marL="0" indent="0">
              <a:buNone/>
            </a:pPr>
            <a:r>
              <a:rPr lang="en-US" dirty="0"/>
              <a:t>Options &amp; Upcoming Enhancements</a:t>
            </a:r>
          </a:p>
          <a:p>
            <a:pPr marL="0" indent="0">
              <a:buNone/>
            </a:pPr>
            <a:endParaRPr lang="en-US" dirty="0"/>
          </a:p>
        </p:txBody>
      </p:sp>
      <p:sp>
        <p:nvSpPr>
          <p:cNvPr id="3" name="Content Placeholder 2">
            <a:extLst>
              <a:ext uri="{FF2B5EF4-FFF2-40B4-BE49-F238E27FC236}">
                <a16:creationId xmlns:a16="http://schemas.microsoft.com/office/drawing/2014/main" id="{CD52CADC-EA83-A24D-8614-59A37B0B43B5}"/>
              </a:ext>
            </a:extLst>
          </p:cNvPr>
          <p:cNvSpPr>
            <a:spLocks noGrp="1"/>
          </p:cNvSpPr>
          <p:nvPr>
            <p:ph sz="quarter" idx="11"/>
          </p:nvPr>
        </p:nvSpPr>
        <p:spPr>
          <a:xfrm>
            <a:off x="274638" y="2087596"/>
            <a:ext cx="11647486" cy="4313203"/>
          </a:xfrm>
        </p:spPr>
        <p:txBody>
          <a:bodyPr/>
          <a:lstStyle/>
          <a:p>
            <a:r>
              <a:rPr lang="en-US" sz="2000" dirty="0"/>
              <a:t>6x 100 Gbps Ethernet </a:t>
            </a:r>
            <a:r>
              <a:rPr lang="en-US" sz="2000" dirty="0" err="1"/>
              <a:t>RoCE</a:t>
            </a:r>
            <a:r>
              <a:rPr lang="en-US" sz="2000" dirty="0"/>
              <a:t> connectivity</a:t>
            </a:r>
          </a:p>
          <a:p>
            <a:pPr lvl="1"/>
            <a:r>
              <a:rPr lang="en-US" sz="1800" dirty="0"/>
              <a:t>NVMe/TCP Support coming 1CQ 2023</a:t>
            </a:r>
          </a:p>
          <a:p>
            <a:pPr lvl="1"/>
            <a:r>
              <a:rPr lang="en-US" sz="2000" dirty="0"/>
              <a:t>96 or 192 shared name spaces</a:t>
            </a:r>
          </a:p>
          <a:p>
            <a:r>
              <a:rPr lang="en-US" sz="2000" dirty="0"/>
              <a:t>2x 100 Gbps, single RapidFlex card per IOM</a:t>
            </a:r>
          </a:p>
          <a:p>
            <a:pPr lvl="1"/>
            <a:r>
              <a:rPr lang="en-US" sz="1800" dirty="0"/>
              <a:t>Enables easy replacement of SAS  environments</a:t>
            </a:r>
          </a:p>
          <a:p>
            <a:pPr lvl="1"/>
            <a:r>
              <a:rPr lang="en-US" sz="1800" dirty="0"/>
              <a:t>Allows each port to see all 24 drives</a:t>
            </a:r>
          </a:p>
          <a:p>
            <a:r>
              <a:rPr lang="en-US" sz="2000" dirty="0"/>
              <a:t>Support for Open Composable API</a:t>
            </a:r>
          </a:p>
          <a:p>
            <a:pPr lvl="1"/>
            <a:r>
              <a:rPr lang="en-US" sz="1800" dirty="0"/>
              <a:t>Management commands thru CLI and GUI</a:t>
            </a:r>
          </a:p>
          <a:p>
            <a:pPr lvl="1"/>
            <a:r>
              <a:rPr lang="en-US" sz="1800" dirty="0"/>
              <a:t>Simplified management through out-of-band port</a:t>
            </a:r>
            <a:endParaRPr lang="en-US" sz="2000" dirty="0"/>
          </a:p>
        </p:txBody>
      </p:sp>
      <p:pic>
        <p:nvPicPr>
          <p:cNvPr id="9" name="Picture 8">
            <a:extLst>
              <a:ext uri="{FF2B5EF4-FFF2-40B4-BE49-F238E27FC236}">
                <a16:creationId xmlns:a16="http://schemas.microsoft.com/office/drawing/2014/main" id="{1E64E26B-2B9C-4A05-9581-DD2C3B6C5D8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489051" y="3399668"/>
            <a:ext cx="6280989" cy="1927704"/>
          </a:xfrm>
          <a:prstGeom prst="rect">
            <a:avLst/>
          </a:prstGeom>
        </p:spPr>
      </p:pic>
    </p:spTree>
    <p:extLst>
      <p:ext uri="{BB962C8B-B14F-4D97-AF65-F5344CB8AC3E}">
        <p14:creationId xmlns:p14="http://schemas.microsoft.com/office/powerpoint/2010/main" val="3305640438"/>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8C30B3-B109-4A4D-ACFB-971A4D5B4524}"/>
              </a:ext>
            </a:extLst>
          </p:cNvPr>
          <p:cNvSpPr>
            <a:spLocks noGrp="1"/>
          </p:cNvSpPr>
          <p:nvPr>
            <p:ph type="title"/>
          </p:nvPr>
        </p:nvSpPr>
        <p:spPr/>
        <p:txBody>
          <a:bodyPr>
            <a:normAutofit/>
          </a:bodyPr>
          <a:lstStyle/>
          <a:p>
            <a:r>
              <a:rPr lang="en-US" sz="4000" dirty="0"/>
              <a:t>RapidFlex™ High-Performance </a:t>
            </a:r>
            <a:r>
              <a:rPr lang="en-US" sz="4000" dirty="0" err="1"/>
              <a:t>NVMe-oF</a:t>
            </a:r>
            <a:r>
              <a:rPr lang="en-US" sz="4000" dirty="0"/>
              <a:t> Controller</a:t>
            </a:r>
          </a:p>
        </p:txBody>
      </p:sp>
      <p:sp>
        <p:nvSpPr>
          <p:cNvPr id="7" name="Text Placeholder 6">
            <a:extLst>
              <a:ext uri="{FF2B5EF4-FFF2-40B4-BE49-F238E27FC236}">
                <a16:creationId xmlns:a16="http://schemas.microsoft.com/office/drawing/2014/main" id="{F38D35BF-4463-0A4F-82A0-07E2D0597087}"/>
              </a:ext>
            </a:extLst>
          </p:cNvPr>
          <p:cNvSpPr>
            <a:spLocks noGrp="1"/>
          </p:cNvSpPr>
          <p:nvPr>
            <p:ph type="body" sz="quarter" idx="12"/>
          </p:nvPr>
        </p:nvSpPr>
        <p:spPr/>
        <p:txBody>
          <a:bodyPr/>
          <a:lstStyle/>
          <a:p>
            <a:pPr marL="0" indent="0">
              <a:buNone/>
            </a:pPr>
            <a:r>
              <a:rPr lang="en-US" dirty="0"/>
              <a:t>ASIC and HBA</a:t>
            </a:r>
          </a:p>
        </p:txBody>
      </p:sp>
      <p:sp>
        <p:nvSpPr>
          <p:cNvPr id="5" name="Content Placeholder 4">
            <a:extLst>
              <a:ext uri="{FF2B5EF4-FFF2-40B4-BE49-F238E27FC236}">
                <a16:creationId xmlns:a16="http://schemas.microsoft.com/office/drawing/2014/main" id="{3B9BC7D1-FE45-214C-9AAD-F78C5856F035}"/>
              </a:ext>
            </a:extLst>
          </p:cNvPr>
          <p:cNvSpPr>
            <a:spLocks noGrp="1"/>
          </p:cNvSpPr>
          <p:nvPr>
            <p:ph sz="quarter" idx="11"/>
          </p:nvPr>
        </p:nvSpPr>
        <p:spPr>
          <a:xfrm>
            <a:off x="274638" y="2095499"/>
            <a:ext cx="5550408" cy="3962381"/>
          </a:xfrm>
        </p:spPr>
        <p:txBody>
          <a:bodyPr/>
          <a:lstStyle/>
          <a:p>
            <a:pPr marL="0" indent="0">
              <a:spcBef>
                <a:spcPts val="0"/>
              </a:spcBef>
              <a:spcAft>
                <a:spcPts val="1200"/>
              </a:spcAft>
              <a:buNone/>
            </a:pPr>
            <a:r>
              <a:rPr lang="en-US" sz="1800" dirty="0"/>
              <a:t>A1000/C1000</a:t>
            </a:r>
          </a:p>
          <a:p>
            <a:pPr lvl="0">
              <a:spcBef>
                <a:spcPts val="0"/>
              </a:spcBef>
              <a:spcAft>
                <a:spcPts val="1200"/>
              </a:spcAft>
            </a:pPr>
            <a:r>
              <a:rPr lang="en-US" sz="1600" dirty="0"/>
              <a:t>An optimized </a:t>
            </a:r>
            <a:r>
              <a:rPr lang="en-US" sz="1600" dirty="0" err="1"/>
              <a:t>NVMe-oF</a:t>
            </a:r>
            <a:r>
              <a:rPr lang="en-US" sz="1600" dirty="0"/>
              <a:t> target JBOF solution</a:t>
            </a:r>
          </a:p>
          <a:p>
            <a:pPr lvl="1">
              <a:spcAft>
                <a:spcPts val="1200"/>
              </a:spcAft>
            </a:pPr>
            <a:r>
              <a:rPr lang="en-US" sz="1400" dirty="0"/>
              <a:t>Extremely low power, minimal latency penalty</a:t>
            </a:r>
          </a:p>
          <a:p>
            <a:pPr lvl="0">
              <a:spcBef>
                <a:spcPts val="0"/>
              </a:spcBef>
              <a:spcAft>
                <a:spcPts val="1200"/>
              </a:spcAft>
            </a:pPr>
            <a:r>
              <a:rPr lang="en-US" sz="1600" dirty="0"/>
              <a:t>Advanced levels of hardware acceleration </a:t>
            </a:r>
          </a:p>
          <a:p>
            <a:pPr lvl="0">
              <a:spcBef>
                <a:spcPts val="0"/>
              </a:spcBef>
              <a:spcAft>
                <a:spcPts val="1200"/>
              </a:spcAft>
            </a:pPr>
            <a:r>
              <a:rPr lang="en-US" sz="1600" dirty="0"/>
              <a:t>Enables efficient compute/storage disaggregation </a:t>
            </a:r>
          </a:p>
          <a:p>
            <a:pPr lvl="1">
              <a:spcAft>
                <a:spcPts val="1200"/>
              </a:spcAft>
            </a:pPr>
            <a:r>
              <a:rPr lang="en-US" sz="1400" dirty="0"/>
              <a:t>DAS-like performance with all the benefits of composability</a:t>
            </a:r>
          </a:p>
          <a:p>
            <a:pPr>
              <a:spcBef>
                <a:spcPts val="0"/>
              </a:spcBef>
              <a:spcAft>
                <a:spcPts val="1200"/>
              </a:spcAft>
            </a:pPr>
            <a:r>
              <a:rPr lang="en-US" sz="1600" dirty="0"/>
              <a:t>Available as 21mm BGA packaged target ASIC or compact PCIe target adapter card</a:t>
            </a:r>
          </a:p>
          <a:p>
            <a:pPr>
              <a:spcBef>
                <a:spcPts val="0"/>
              </a:spcBef>
              <a:spcAft>
                <a:spcPts val="1200"/>
              </a:spcAft>
            </a:pPr>
            <a:r>
              <a:rPr lang="en-US" sz="1600" dirty="0"/>
              <a:t>100Gb Ethernet connectivity</a:t>
            </a:r>
          </a:p>
        </p:txBody>
      </p:sp>
      <p:sp>
        <p:nvSpPr>
          <p:cNvPr id="6" name="Content Placeholder 5">
            <a:extLst>
              <a:ext uri="{FF2B5EF4-FFF2-40B4-BE49-F238E27FC236}">
                <a16:creationId xmlns:a16="http://schemas.microsoft.com/office/drawing/2014/main" id="{43B9F469-06C0-0943-B584-99C622C66AD7}"/>
              </a:ext>
            </a:extLst>
          </p:cNvPr>
          <p:cNvSpPr>
            <a:spLocks noGrp="1"/>
          </p:cNvSpPr>
          <p:nvPr>
            <p:ph sz="quarter" idx="13"/>
          </p:nvPr>
        </p:nvSpPr>
        <p:spPr>
          <a:xfrm>
            <a:off x="6366954" y="2095499"/>
            <a:ext cx="5550408" cy="3962382"/>
          </a:xfrm>
        </p:spPr>
        <p:txBody>
          <a:bodyPr/>
          <a:lstStyle/>
          <a:p>
            <a:pPr marL="0" indent="0">
              <a:spcBef>
                <a:spcPts val="0"/>
              </a:spcBef>
              <a:spcAft>
                <a:spcPts val="1200"/>
              </a:spcAft>
              <a:buNone/>
            </a:pPr>
            <a:r>
              <a:rPr lang="en-US" sz="1800" dirty="0"/>
              <a:t>A2000/C2000</a:t>
            </a:r>
          </a:p>
          <a:p>
            <a:pPr>
              <a:spcBef>
                <a:spcPts val="0"/>
              </a:spcBef>
              <a:spcAft>
                <a:spcPts val="1200"/>
              </a:spcAft>
            </a:pPr>
            <a:r>
              <a:rPr lang="en-US" sz="1600" dirty="0"/>
              <a:t>Feature Additions to A1000/C1000</a:t>
            </a:r>
          </a:p>
          <a:p>
            <a:pPr marL="628650" lvl="1" indent="-342900">
              <a:spcAft>
                <a:spcPts val="1200"/>
              </a:spcAft>
            </a:pPr>
            <a:r>
              <a:rPr lang="en-US" sz="1400" dirty="0" err="1"/>
              <a:t>NVMe-oF</a:t>
            </a:r>
            <a:r>
              <a:rPr lang="en-US" sz="1400" dirty="0"/>
              <a:t> </a:t>
            </a:r>
            <a:r>
              <a:rPr lang="en-US" sz="1400" b="1" dirty="0">
                <a:solidFill>
                  <a:srgbClr val="00B050"/>
                </a:solidFill>
              </a:rPr>
              <a:t>initiator capability</a:t>
            </a:r>
          </a:p>
          <a:p>
            <a:pPr marL="628650" lvl="1" indent="-342900">
              <a:spcAft>
                <a:spcPts val="1200"/>
              </a:spcAft>
            </a:pPr>
            <a:r>
              <a:rPr lang="en-US" sz="1400" dirty="0"/>
              <a:t>RoCE2  &amp; NVMe-over-</a:t>
            </a:r>
            <a:r>
              <a:rPr lang="en-US" sz="1400" b="1" dirty="0">
                <a:solidFill>
                  <a:srgbClr val="00B050"/>
                </a:solidFill>
              </a:rPr>
              <a:t>TCP</a:t>
            </a:r>
          </a:p>
          <a:p>
            <a:pPr marL="628650" lvl="1" indent="-342900">
              <a:spcAft>
                <a:spcPts val="1200"/>
              </a:spcAft>
            </a:pPr>
            <a:r>
              <a:rPr lang="en-US" sz="1400" b="1" dirty="0">
                <a:solidFill>
                  <a:srgbClr val="00B050"/>
                </a:solidFill>
              </a:rPr>
              <a:t>Second 100 GbE port </a:t>
            </a:r>
            <a:r>
              <a:rPr lang="en-US" sz="1400" dirty="0"/>
              <a:t>(Dual Port Initiator)</a:t>
            </a:r>
          </a:p>
          <a:p>
            <a:pPr marL="628650" lvl="1" indent="-342900">
              <a:spcAft>
                <a:spcPts val="1200"/>
              </a:spcAft>
            </a:pPr>
            <a:r>
              <a:rPr lang="en-US" sz="1400" b="1" dirty="0">
                <a:solidFill>
                  <a:srgbClr val="00B050"/>
                </a:solidFill>
              </a:rPr>
              <a:t>PCIe Gen4</a:t>
            </a:r>
            <a:r>
              <a:rPr lang="en-US" sz="1400" dirty="0"/>
              <a:t> x16</a:t>
            </a:r>
          </a:p>
          <a:p>
            <a:pPr marL="628650" lvl="1" indent="-342900">
              <a:spcAft>
                <a:spcPts val="1200"/>
              </a:spcAft>
            </a:pPr>
            <a:r>
              <a:rPr lang="en-US" sz="1400" dirty="0"/>
              <a:t>Increased Ethernet connection support</a:t>
            </a:r>
          </a:p>
          <a:p>
            <a:pPr marL="628650" lvl="1" indent="-342900">
              <a:spcAft>
                <a:spcPts val="1200"/>
              </a:spcAft>
            </a:pPr>
            <a:r>
              <a:rPr lang="en-US" sz="1400" b="1" dirty="0">
                <a:solidFill>
                  <a:srgbClr val="00B050"/>
                </a:solidFill>
              </a:rPr>
              <a:t>Non-Transparent Bridging </a:t>
            </a:r>
            <a:r>
              <a:rPr lang="en-US" sz="1400" dirty="0"/>
              <a:t>(PCIe switch feature)</a:t>
            </a:r>
          </a:p>
          <a:p>
            <a:pPr marL="354330" indent="-342900">
              <a:spcBef>
                <a:spcPts val="0"/>
              </a:spcBef>
              <a:spcAft>
                <a:spcPts val="1200"/>
              </a:spcAft>
            </a:pPr>
            <a:r>
              <a:rPr lang="en-US" sz="1600" dirty="0"/>
              <a:t>Sampling: CQ4 2022 / Production: CQ1 2023</a:t>
            </a:r>
          </a:p>
        </p:txBody>
      </p:sp>
      <p:grpSp>
        <p:nvGrpSpPr>
          <p:cNvPr id="13" name="Group 12">
            <a:extLst>
              <a:ext uri="{FF2B5EF4-FFF2-40B4-BE49-F238E27FC236}">
                <a16:creationId xmlns:a16="http://schemas.microsoft.com/office/drawing/2014/main" id="{F1B2B5FD-18D5-4106-9A18-9A2364308B33}"/>
              </a:ext>
            </a:extLst>
          </p:cNvPr>
          <p:cNvGrpSpPr>
            <a:grpSpLocks noChangeAspect="1"/>
          </p:cNvGrpSpPr>
          <p:nvPr/>
        </p:nvGrpSpPr>
        <p:grpSpPr>
          <a:xfrm>
            <a:off x="573588" y="5516415"/>
            <a:ext cx="4121917" cy="1224108"/>
            <a:chOff x="914400" y="5620554"/>
            <a:chExt cx="4002755" cy="1187802"/>
          </a:xfrm>
        </p:grpSpPr>
        <p:pic>
          <p:nvPicPr>
            <p:cNvPr id="8" name="Picture 7">
              <a:extLst>
                <a:ext uri="{FF2B5EF4-FFF2-40B4-BE49-F238E27FC236}">
                  <a16:creationId xmlns:a16="http://schemas.microsoft.com/office/drawing/2014/main" id="{2DE8EBA3-0E56-D44B-B751-FB7810078EF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3695" y="5872912"/>
              <a:ext cx="855620" cy="824558"/>
            </a:xfrm>
            <a:prstGeom prst="rect">
              <a:avLst/>
            </a:prstGeom>
          </p:spPr>
        </p:pic>
        <p:pic>
          <p:nvPicPr>
            <p:cNvPr id="9" name="Picture 8">
              <a:extLst>
                <a:ext uri="{FF2B5EF4-FFF2-40B4-BE49-F238E27FC236}">
                  <a16:creationId xmlns:a16="http://schemas.microsoft.com/office/drawing/2014/main" id="{253B317A-B29A-2240-8248-2D2E269A58F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14400" y="5620554"/>
              <a:ext cx="882786" cy="880884"/>
            </a:xfrm>
            <a:prstGeom prst="roundRect">
              <a:avLst>
                <a:gd name="adj" fmla="val 4437"/>
              </a:avLst>
            </a:prstGeom>
          </p:spPr>
        </p:pic>
        <p:pic>
          <p:nvPicPr>
            <p:cNvPr id="10" name="Picture 9">
              <a:extLst>
                <a:ext uri="{FF2B5EF4-FFF2-40B4-BE49-F238E27FC236}">
                  <a16:creationId xmlns:a16="http://schemas.microsoft.com/office/drawing/2014/main" id="{30386B3A-F8C7-C64C-AFDD-E457A058EC37}"/>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590800" y="5620554"/>
              <a:ext cx="2326355" cy="1187802"/>
            </a:xfrm>
            <a:prstGeom prst="rect">
              <a:avLst/>
            </a:prstGeom>
          </p:spPr>
        </p:pic>
      </p:grpSp>
      <p:grpSp>
        <p:nvGrpSpPr>
          <p:cNvPr id="14" name="Group 13">
            <a:extLst>
              <a:ext uri="{FF2B5EF4-FFF2-40B4-BE49-F238E27FC236}">
                <a16:creationId xmlns:a16="http://schemas.microsoft.com/office/drawing/2014/main" id="{9FD1B842-09F3-4B21-9C56-2546E1215597}"/>
              </a:ext>
            </a:extLst>
          </p:cNvPr>
          <p:cNvGrpSpPr>
            <a:grpSpLocks noChangeAspect="1"/>
          </p:cNvGrpSpPr>
          <p:nvPr/>
        </p:nvGrpSpPr>
        <p:grpSpPr>
          <a:xfrm>
            <a:off x="6766366" y="5521197"/>
            <a:ext cx="4622743" cy="1224108"/>
            <a:chOff x="7243445" y="5641606"/>
            <a:chExt cx="4124366" cy="1092137"/>
          </a:xfrm>
        </p:grpSpPr>
        <p:pic>
          <p:nvPicPr>
            <p:cNvPr id="11" name="Picture 10">
              <a:extLst>
                <a:ext uri="{FF2B5EF4-FFF2-40B4-BE49-F238E27FC236}">
                  <a16:creationId xmlns:a16="http://schemas.microsoft.com/office/drawing/2014/main" id="{6E834BC0-AFF1-D351-E412-2B3AEE43D43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398857" y="5909185"/>
              <a:ext cx="855620" cy="824558"/>
            </a:xfrm>
            <a:prstGeom prst="rect">
              <a:avLst/>
            </a:prstGeom>
          </p:spPr>
        </p:pic>
        <p:pic>
          <p:nvPicPr>
            <p:cNvPr id="4" name="Picture 3">
              <a:extLst>
                <a:ext uri="{FF2B5EF4-FFF2-40B4-BE49-F238E27FC236}">
                  <a16:creationId xmlns:a16="http://schemas.microsoft.com/office/drawing/2014/main" id="{47B73128-950C-A2C0-F835-F63AB54328C5}"/>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243445" y="5660130"/>
              <a:ext cx="885551" cy="880884"/>
            </a:xfrm>
            <a:prstGeom prst="rect">
              <a:avLst/>
            </a:prstGeom>
          </p:spPr>
        </p:pic>
        <p:pic>
          <p:nvPicPr>
            <p:cNvPr id="12" name="Picture 11" descr="A picture containing text, electronics, circuit&#10;&#10;Description automatically generated">
              <a:extLst>
                <a:ext uri="{FF2B5EF4-FFF2-40B4-BE49-F238E27FC236}">
                  <a16:creationId xmlns:a16="http://schemas.microsoft.com/office/drawing/2014/main" id="{5907AC5B-93ED-09A0-B91B-DA20E3C7D60A}"/>
                </a:ext>
              </a:extLst>
            </p:cNvPr>
            <p:cNvPicPr>
              <a:picLocks noChangeAspect="1"/>
            </p:cNvPicPr>
            <p:nvPr/>
          </p:nvPicPr>
          <p:blipFill>
            <a:blip r:embed="rId7"/>
            <a:stretch>
              <a:fillRect/>
            </a:stretch>
          </p:blipFill>
          <p:spPr>
            <a:xfrm>
              <a:off x="8678546" y="5641606"/>
              <a:ext cx="2689265" cy="1055864"/>
            </a:xfrm>
            <a:prstGeom prst="rect">
              <a:avLst/>
            </a:prstGeom>
          </p:spPr>
        </p:pic>
      </p:grpSp>
    </p:spTree>
    <p:extLst>
      <p:ext uri="{BB962C8B-B14F-4D97-AF65-F5344CB8AC3E}">
        <p14:creationId xmlns:p14="http://schemas.microsoft.com/office/powerpoint/2010/main" val="3055062977"/>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5C1B19-010A-46CD-A154-9A541E8AB72F}"/>
              </a:ext>
            </a:extLst>
          </p:cNvPr>
          <p:cNvSpPr>
            <a:spLocks noGrp="1"/>
          </p:cNvSpPr>
          <p:nvPr>
            <p:ph type="title"/>
          </p:nvPr>
        </p:nvSpPr>
        <p:spPr/>
        <p:txBody>
          <a:bodyPr/>
          <a:lstStyle/>
          <a:p>
            <a:r>
              <a:rPr lang="en-US" sz="4800" dirty="0"/>
              <a:t>						   </a:t>
            </a:r>
            <a:r>
              <a:rPr lang="en-US" sz="4800" dirty="0" err="1"/>
              <a:t>Ceph</a:t>
            </a:r>
            <a:r>
              <a:rPr lang="en-US" sz="4800" dirty="0"/>
              <a:t>*) on Steroids</a:t>
            </a:r>
            <a:endParaRPr lang="en-US" dirty="0"/>
          </a:p>
        </p:txBody>
      </p:sp>
      <p:sp>
        <p:nvSpPr>
          <p:cNvPr id="4" name="Slide Number Placeholder 3">
            <a:extLst>
              <a:ext uri="{FF2B5EF4-FFF2-40B4-BE49-F238E27FC236}">
                <a16:creationId xmlns:a16="http://schemas.microsoft.com/office/drawing/2014/main" id="{EF03D1A0-1F4B-4326-BC5E-0369A0F81B6E}"/>
              </a:ext>
            </a:extLst>
          </p:cNvPr>
          <p:cNvSpPr>
            <a:spLocks noGrp="1"/>
          </p:cNvSpPr>
          <p:nvPr>
            <p:ph type="sldNum" sz="quarter" idx="4"/>
          </p:nvPr>
        </p:nvSpPr>
        <p:spPr/>
        <p:txBody>
          <a:bodyPr/>
          <a:lstStyle/>
          <a:p>
            <a:fld id="{4571BA12-316B-0A40-BB3D-1A8CDD33E9E5}" type="slidenum">
              <a:rPr lang="en-US" smtClean="0"/>
              <a:pPr/>
              <a:t>23</a:t>
            </a:fld>
            <a:endParaRPr lang="en-US" dirty="0"/>
          </a:p>
        </p:txBody>
      </p:sp>
      <p:sp>
        <p:nvSpPr>
          <p:cNvPr id="5" name="TextBox 4">
            <a:extLst>
              <a:ext uri="{FF2B5EF4-FFF2-40B4-BE49-F238E27FC236}">
                <a16:creationId xmlns:a16="http://schemas.microsoft.com/office/drawing/2014/main" id="{DAF6264C-8F3B-4832-8870-42DB4B171D4D}"/>
              </a:ext>
            </a:extLst>
          </p:cNvPr>
          <p:cNvSpPr txBox="1"/>
          <p:nvPr/>
        </p:nvSpPr>
        <p:spPr>
          <a:xfrm>
            <a:off x="6851598" y="2211881"/>
            <a:ext cx="4763932" cy="4093428"/>
          </a:xfrm>
          <a:prstGeom prst="rect">
            <a:avLst/>
          </a:prstGeom>
          <a:noFill/>
        </p:spPr>
        <p:txBody>
          <a:bodyPr wrap="square" rtlCol="0">
            <a:spAutoFit/>
          </a:bodyPr>
          <a:lstStyle/>
          <a:p>
            <a:r>
              <a:rPr lang="en-US" sz="2000" dirty="0"/>
              <a:t>Small/Test Configuration:</a:t>
            </a:r>
          </a:p>
          <a:p>
            <a:r>
              <a:rPr lang="en-US" sz="2000" dirty="0"/>
              <a:t>   1-6x cluster nodes (</a:t>
            </a:r>
            <a:r>
              <a:rPr lang="en-US" sz="2000" dirty="0" err="1"/>
              <a:t>QuantaStor</a:t>
            </a:r>
            <a:r>
              <a:rPr lang="en-US" sz="2000" dirty="0"/>
              <a:t> 5.8.4)</a:t>
            </a:r>
          </a:p>
          <a:p>
            <a:r>
              <a:rPr lang="en-US" sz="2000" dirty="0"/>
              <a:t>	Mellanox MCX516A-CDAT</a:t>
            </a:r>
          </a:p>
          <a:p>
            <a:r>
              <a:rPr lang="en-US" sz="2000" dirty="0"/>
              <a:t>  6x client servers (Ubuntu 18.04)</a:t>
            </a:r>
          </a:p>
          <a:p>
            <a:r>
              <a:rPr lang="en-US" sz="2000" dirty="0"/>
              <a:t>	Mellanox MCX516A-CDAT</a:t>
            </a:r>
          </a:p>
          <a:p>
            <a:r>
              <a:rPr lang="en-US" sz="2000" dirty="0"/>
              <a:t>   1x Mellanox SN2700 (OPFC, ECN)</a:t>
            </a:r>
          </a:p>
          <a:p>
            <a:r>
              <a:rPr lang="en-US" sz="2000" dirty="0"/>
              <a:t>   1x Data24 Chassis</a:t>
            </a:r>
          </a:p>
          <a:p>
            <a:endParaRPr lang="en-US" sz="2000" dirty="0"/>
          </a:p>
          <a:p>
            <a:r>
              <a:rPr lang="en-US" sz="2000" dirty="0"/>
              <a:t>Benchmark Summary:</a:t>
            </a:r>
          </a:p>
          <a:p>
            <a:r>
              <a:rPr lang="en-US" sz="2000" dirty="0"/>
              <a:t>   19.42 GB/s @ 64MB Gets</a:t>
            </a:r>
          </a:p>
          <a:p>
            <a:r>
              <a:rPr lang="en-US" sz="2000" dirty="0"/>
              <a:t>   9.49 GB/s @ 64MB Puts</a:t>
            </a:r>
          </a:p>
          <a:p>
            <a:r>
              <a:rPr lang="en-US" sz="2000" dirty="0"/>
              <a:t>   1,488 IOPS @ 4MB 50%R/50%W</a:t>
            </a:r>
          </a:p>
          <a:p>
            <a:endParaRPr lang="en-US" sz="2000" dirty="0"/>
          </a:p>
        </p:txBody>
      </p:sp>
      <p:pic>
        <p:nvPicPr>
          <p:cNvPr id="6" name="Picture 5">
            <a:extLst>
              <a:ext uri="{FF2B5EF4-FFF2-40B4-BE49-F238E27FC236}">
                <a16:creationId xmlns:a16="http://schemas.microsoft.com/office/drawing/2014/main" id="{5C02A968-CC22-4DC8-99D3-415016E927BB}"/>
              </a:ext>
            </a:extLst>
          </p:cNvPr>
          <p:cNvPicPr>
            <a:picLocks noChangeAspect="1"/>
          </p:cNvPicPr>
          <p:nvPr/>
        </p:nvPicPr>
        <p:blipFill>
          <a:blip r:embed="rId2"/>
          <a:stretch>
            <a:fillRect/>
          </a:stretch>
        </p:blipFill>
        <p:spPr>
          <a:xfrm>
            <a:off x="3293" y="377690"/>
            <a:ext cx="5420438" cy="5297557"/>
          </a:xfrm>
          <a:prstGeom prst="rect">
            <a:avLst/>
          </a:prstGeom>
        </p:spPr>
      </p:pic>
      <p:sp>
        <p:nvSpPr>
          <p:cNvPr id="7" name="TextBox 6">
            <a:extLst>
              <a:ext uri="{FF2B5EF4-FFF2-40B4-BE49-F238E27FC236}">
                <a16:creationId xmlns:a16="http://schemas.microsoft.com/office/drawing/2014/main" id="{06C881CE-461C-426E-B4C5-437F7E04A55F}"/>
              </a:ext>
            </a:extLst>
          </p:cNvPr>
          <p:cNvSpPr txBox="1"/>
          <p:nvPr/>
        </p:nvSpPr>
        <p:spPr>
          <a:xfrm>
            <a:off x="195705" y="5793273"/>
            <a:ext cx="4763932" cy="369332"/>
          </a:xfrm>
          <a:prstGeom prst="rect">
            <a:avLst/>
          </a:prstGeom>
          <a:noFill/>
        </p:spPr>
        <p:txBody>
          <a:bodyPr wrap="square" rtlCol="0">
            <a:spAutoFit/>
          </a:bodyPr>
          <a:lstStyle/>
          <a:p>
            <a:r>
              <a:rPr lang="en-US" dirty="0"/>
              <a:t>*) </a:t>
            </a:r>
            <a:r>
              <a:rPr lang="en-US" dirty="0" err="1"/>
              <a:t>OSNexus</a:t>
            </a:r>
            <a:r>
              <a:rPr lang="en-US" dirty="0"/>
              <a:t> </a:t>
            </a:r>
            <a:r>
              <a:rPr lang="en-US" dirty="0" err="1"/>
              <a:t>QuantaStor</a:t>
            </a:r>
            <a:r>
              <a:rPr lang="en-US" dirty="0"/>
              <a:t> 5</a:t>
            </a:r>
          </a:p>
        </p:txBody>
      </p:sp>
    </p:spTree>
    <p:extLst>
      <p:ext uri="{BB962C8B-B14F-4D97-AF65-F5344CB8AC3E}">
        <p14:creationId xmlns:p14="http://schemas.microsoft.com/office/powerpoint/2010/main" val="1526096129"/>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156151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5841515-CE43-8327-66F9-301115ADBB91}"/>
              </a:ext>
            </a:extLst>
          </p:cNvPr>
          <p:cNvSpPr>
            <a:spLocks noGrp="1"/>
          </p:cNvSpPr>
          <p:nvPr>
            <p:ph type="sldNum" sz="quarter" idx="4"/>
          </p:nvPr>
        </p:nvSpPr>
        <p:spPr/>
        <p:txBody>
          <a:bodyPr/>
          <a:lstStyle/>
          <a:p>
            <a:fld id="{4571BA12-316B-0A40-BB3D-1A8CDD33E9E5}" type="slidenum">
              <a:rPr lang="en-US" smtClean="0"/>
              <a:pPr/>
              <a:t>3</a:t>
            </a:fld>
            <a:endParaRPr lang="en-US" dirty="0"/>
          </a:p>
        </p:txBody>
      </p:sp>
      <p:sp>
        <p:nvSpPr>
          <p:cNvPr id="4" name="Title 3">
            <a:extLst>
              <a:ext uri="{FF2B5EF4-FFF2-40B4-BE49-F238E27FC236}">
                <a16:creationId xmlns:a16="http://schemas.microsoft.com/office/drawing/2014/main" id="{2B06775A-05E3-7A14-7B15-3A0910852AD7}"/>
              </a:ext>
            </a:extLst>
          </p:cNvPr>
          <p:cNvSpPr>
            <a:spLocks noGrp="1"/>
          </p:cNvSpPr>
          <p:nvPr>
            <p:ph type="title"/>
          </p:nvPr>
        </p:nvSpPr>
        <p:spPr/>
        <p:txBody>
          <a:bodyPr/>
          <a:lstStyle/>
          <a:p>
            <a:r>
              <a:rPr lang="en-US" dirty="0">
                <a:ln w="12700">
                  <a:gradFill>
                    <a:gsLst>
                      <a:gs pos="100000">
                        <a:schemeClr val="accent3"/>
                      </a:gs>
                      <a:gs pos="0">
                        <a:schemeClr val="accent2"/>
                      </a:gs>
                      <a:gs pos="54000">
                        <a:schemeClr val="accent1"/>
                      </a:gs>
                    </a:gsLst>
                    <a:lin ang="15000000" scaled="0"/>
                  </a:gradFill>
                  <a:miter lim="800000"/>
                </a:ln>
                <a:noFill/>
              </a:rPr>
              <a:t>THE </a:t>
            </a:r>
            <a:r>
              <a:rPr lang="en-US" dirty="0"/>
              <a:t>BROADEST </a:t>
            </a:r>
            <a:r>
              <a:rPr lang="en-US" dirty="0">
                <a:ln w="12700">
                  <a:gradFill>
                    <a:gsLst>
                      <a:gs pos="100000">
                        <a:schemeClr val="accent3"/>
                      </a:gs>
                      <a:gs pos="0">
                        <a:schemeClr val="accent2"/>
                      </a:gs>
                      <a:gs pos="54000">
                        <a:schemeClr val="accent1"/>
                      </a:gs>
                    </a:gsLst>
                    <a:lin ang="15000000" scaled="0"/>
                  </a:gradFill>
                  <a:miter lim="800000"/>
                </a:ln>
                <a:noFill/>
              </a:rPr>
              <a:t>STORAGE LEADERSHIP</a:t>
            </a:r>
          </a:p>
        </p:txBody>
      </p:sp>
      <p:sp>
        <p:nvSpPr>
          <p:cNvPr id="34" name="U-Turn Arrow 33">
            <a:extLst>
              <a:ext uri="{FF2B5EF4-FFF2-40B4-BE49-F238E27FC236}">
                <a16:creationId xmlns:a16="http://schemas.microsoft.com/office/drawing/2014/main" id="{9480A17C-204F-C7E4-E4D7-30006571AD0B}"/>
              </a:ext>
            </a:extLst>
          </p:cNvPr>
          <p:cNvSpPr/>
          <p:nvPr/>
        </p:nvSpPr>
        <p:spPr>
          <a:xfrm rot="5400000">
            <a:off x="4451807" y="-2591687"/>
            <a:ext cx="2644220" cy="11547836"/>
          </a:xfrm>
          <a:prstGeom prst="uturnArrow">
            <a:avLst>
              <a:gd name="adj1" fmla="val 6867"/>
              <a:gd name="adj2" fmla="val 25000"/>
              <a:gd name="adj3" fmla="val 0"/>
              <a:gd name="adj4" fmla="val 43750"/>
              <a:gd name="adj5" fmla="val 79837"/>
            </a:avLst>
          </a:prstGeom>
          <a:gradFill>
            <a:gsLst>
              <a:gs pos="0">
                <a:schemeClr val="accent2">
                  <a:alpha val="49171"/>
                </a:schemeClr>
              </a:gs>
              <a:gs pos="100000">
                <a:schemeClr val="accent3">
                  <a:alpha val="49401"/>
                </a:schemeClr>
              </a:gs>
            </a:gsLst>
            <a:lin ang="10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5" name="U-Turn Arrow 34">
            <a:extLst>
              <a:ext uri="{FF2B5EF4-FFF2-40B4-BE49-F238E27FC236}">
                <a16:creationId xmlns:a16="http://schemas.microsoft.com/office/drawing/2014/main" id="{0A1667FB-8636-C879-102E-2CB0873CD4F1}"/>
              </a:ext>
            </a:extLst>
          </p:cNvPr>
          <p:cNvSpPr/>
          <p:nvPr/>
        </p:nvSpPr>
        <p:spPr>
          <a:xfrm rot="16200000">
            <a:off x="5095972" y="-1269576"/>
            <a:ext cx="2644220" cy="11547836"/>
          </a:xfrm>
          <a:prstGeom prst="uturnArrow">
            <a:avLst>
              <a:gd name="adj1" fmla="val 6843"/>
              <a:gd name="adj2" fmla="val 25000"/>
              <a:gd name="adj3" fmla="val 0"/>
              <a:gd name="adj4" fmla="val 43750"/>
              <a:gd name="adj5" fmla="val 14514"/>
            </a:avLst>
          </a:prstGeom>
          <a:gradFill>
            <a:gsLst>
              <a:gs pos="0">
                <a:schemeClr val="accent3">
                  <a:lumMod val="50000"/>
                </a:schemeClr>
              </a:gs>
              <a:gs pos="33000">
                <a:schemeClr val="accent2">
                  <a:alpha val="49000"/>
                </a:schemeClr>
              </a:gs>
              <a:gs pos="100000">
                <a:schemeClr val="accent1">
                  <a:alpha val="49010"/>
                </a:schemeClr>
              </a:gs>
            </a:gsLst>
            <a:lin ang="10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43" name="Picture 42" descr="Calendar&#10;&#10;Description automatically generated with low confidence">
            <a:extLst>
              <a:ext uri="{FF2B5EF4-FFF2-40B4-BE49-F238E27FC236}">
                <a16:creationId xmlns:a16="http://schemas.microsoft.com/office/drawing/2014/main" id="{BEEAB714-9566-E952-E8BB-C2A77EA5DD07}"/>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22089" y="1549084"/>
            <a:ext cx="847108" cy="847108"/>
          </a:xfrm>
          <a:prstGeom prst="rect">
            <a:avLst/>
          </a:prstGeom>
        </p:spPr>
      </p:pic>
      <p:pic>
        <p:nvPicPr>
          <p:cNvPr id="44" name="Picture 43" descr="Text&#10;&#10;Description automatically generated">
            <a:extLst>
              <a:ext uri="{FF2B5EF4-FFF2-40B4-BE49-F238E27FC236}">
                <a16:creationId xmlns:a16="http://schemas.microsoft.com/office/drawing/2014/main" id="{CF89F351-2890-FF7F-EBC1-4E8B30A382DF}"/>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2549815" y="1423881"/>
            <a:ext cx="1103061" cy="1103061"/>
          </a:xfrm>
          <a:prstGeom prst="rect">
            <a:avLst/>
          </a:prstGeom>
        </p:spPr>
      </p:pic>
      <p:pic>
        <p:nvPicPr>
          <p:cNvPr id="45" name="Picture 44" descr="A picture containing text, electronics&#10;&#10;Description automatically generated">
            <a:extLst>
              <a:ext uri="{FF2B5EF4-FFF2-40B4-BE49-F238E27FC236}">
                <a16:creationId xmlns:a16="http://schemas.microsoft.com/office/drawing/2014/main" id="{5B4C6012-AC44-BDA5-0859-45E41081A018}"/>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4462125" y="1528955"/>
            <a:ext cx="922459" cy="922459"/>
          </a:xfrm>
          <a:prstGeom prst="rect">
            <a:avLst/>
          </a:prstGeom>
        </p:spPr>
      </p:pic>
      <p:grpSp>
        <p:nvGrpSpPr>
          <p:cNvPr id="46" name="Group 45">
            <a:extLst>
              <a:ext uri="{FF2B5EF4-FFF2-40B4-BE49-F238E27FC236}">
                <a16:creationId xmlns:a16="http://schemas.microsoft.com/office/drawing/2014/main" id="{A0F1A3D9-8178-D288-8ED6-EFA0276BD005}"/>
              </a:ext>
            </a:extLst>
          </p:cNvPr>
          <p:cNvGrpSpPr/>
          <p:nvPr/>
        </p:nvGrpSpPr>
        <p:grpSpPr>
          <a:xfrm>
            <a:off x="6088184" y="1407326"/>
            <a:ext cx="1625666" cy="988866"/>
            <a:chOff x="5636350" y="1281368"/>
            <a:chExt cx="2079363" cy="1264843"/>
          </a:xfrm>
        </p:grpSpPr>
        <p:pic>
          <p:nvPicPr>
            <p:cNvPr id="47" name="Picture 46">
              <a:extLst>
                <a:ext uri="{FF2B5EF4-FFF2-40B4-BE49-F238E27FC236}">
                  <a16:creationId xmlns:a16="http://schemas.microsoft.com/office/drawing/2014/main" id="{37BBC33F-AAA6-2003-13EE-4C15D1523BDA}"/>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636350" y="1413791"/>
              <a:ext cx="1132420" cy="1132420"/>
            </a:xfrm>
            <a:prstGeom prst="rect">
              <a:avLst/>
            </a:prstGeom>
          </p:spPr>
        </p:pic>
        <p:pic>
          <p:nvPicPr>
            <p:cNvPr id="48" name="Picture 47">
              <a:extLst>
                <a:ext uri="{FF2B5EF4-FFF2-40B4-BE49-F238E27FC236}">
                  <a16:creationId xmlns:a16="http://schemas.microsoft.com/office/drawing/2014/main" id="{D123AE91-ED36-5ABF-8D20-449DD1877706}"/>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l="52522" r="42302" b="80071"/>
            <a:stretch/>
          </p:blipFill>
          <p:spPr>
            <a:xfrm>
              <a:off x="6528196" y="1281368"/>
              <a:ext cx="617838" cy="1135325"/>
            </a:xfrm>
            <a:prstGeom prst="rect">
              <a:avLst/>
            </a:prstGeom>
          </p:spPr>
        </p:pic>
        <p:pic>
          <p:nvPicPr>
            <p:cNvPr id="49" name="Picture 48">
              <a:extLst>
                <a:ext uri="{FF2B5EF4-FFF2-40B4-BE49-F238E27FC236}">
                  <a16:creationId xmlns:a16="http://schemas.microsoft.com/office/drawing/2014/main" id="{6884BD92-49C2-C697-4C72-3D9BFCA2FDA7}"/>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7146034" y="1552407"/>
              <a:ext cx="514582" cy="514582"/>
            </a:xfrm>
            <a:prstGeom prst="rect">
              <a:avLst/>
            </a:prstGeom>
          </p:spPr>
        </p:pic>
        <p:pic>
          <p:nvPicPr>
            <p:cNvPr id="50" name="Picture 49">
              <a:extLst>
                <a:ext uri="{FF2B5EF4-FFF2-40B4-BE49-F238E27FC236}">
                  <a16:creationId xmlns:a16="http://schemas.microsoft.com/office/drawing/2014/main" id="{E76BE68C-A812-2FCD-5DAF-322D36CE284F}"/>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7097875" y="1890918"/>
              <a:ext cx="617838" cy="617838"/>
            </a:xfrm>
            <a:prstGeom prst="rect">
              <a:avLst/>
            </a:prstGeom>
          </p:spPr>
        </p:pic>
      </p:grpSp>
      <p:pic>
        <p:nvPicPr>
          <p:cNvPr id="51" name="Picture 50">
            <a:extLst>
              <a:ext uri="{FF2B5EF4-FFF2-40B4-BE49-F238E27FC236}">
                <a16:creationId xmlns:a16="http://schemas.microsoft.com/office/drawing/2014/main" id="{65B092F0-B179-E828-E15D-1A48457801B9}"/>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8301024" y="1486609"/>
            <a:ext cx="894592" cy="894592"/>
          </a:xfrm>
          <a:prstGeom prst="rect">
            <a:avLst/>
          </a:prstGeom>
        </p:spPr>
      </p:pic>
      <p:grpSp>
        <p:nvGrpSpPr>
          <p:cNvPr id="77" name="Group 76">
            <a:extLst>
              <a:ext uri="{FF2B5EF4-FFF2-40B4-BE49-F238E27FC236}">
                <a16:creationId xmlns:a16="http://schemas.microsoft.com/office/drawing/2014/main" id="{283B8AC3-04A7-994D-E5F8-C3B72802128F}"/>
              </a:ext>
            </a:extLst>
          </p:cNvPr>
          <p:cNvGrpSpPr/>
          <p:nvPr/>
        </p:nvGrpSpPr>
        <p:grpSpPr>
          <a:xfrm>
            <a:off x="9642185" y="1455700"/>
            <a:ext cx="1334982" cy="891924"/>
            <a:chOff x="9633863" y="1371600"/>
            <a:chExt cx="1879870" cy="1255973"/>
          </a:xfrm>
        </p:grpSpPr>
        <p:pic>
          <p:nvPicPr>
            <p:cNvPr id="78" name="Picture 77" descr="A rectangular cellular device&#10;&#10;Description automatically generated with low confidence">
              <a:extLst>
                <a:ext uri="{FF2B5EF4-FFF2-40B4-BE49-F238E27FC236}">
                  <a16:creationId xmlns:a16="http://schemas.microsoft.com/office/drawing/2014/main" id="{273F61B6-6383-DDA9-6542-4FF4FD518897}"/>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10257760" y="1371600"/>
              <a:ext cx="1255973" cy="1255973"/>
            </a:xfrm>
            <a:prstGeom prst="rect">
              <a:avLst/>
            </a:prstGeom>
          </p:spPr>
        </p:pic>
        <p:pic>
          <p:nvPicPr>
            <p:cNvPr id="79" name="Picture 78">
              <a:extLst>
                <a:ext uri="{FF2B5EF4-FFF2-40B4-BE49-F238E27FC236}">
                  <a16:creationId xmlns:a16="http://schemas.microsoft.com/office/drawing/2014/main" id="{363EA837-860D-6819-DCA3-233CEECA29CA}"/>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10004103" y="1438373"/>
              <a:ext cx="1155498" cy="1155498"/>
            </a:xfrm>
            <a:prstGeom prst="rect">
              <a:avLst/>
            </a:prstGeom>
          </p:spPr>
        </p:pic>
        <p:pic>
          <p:nvPicPr>
            <p:cNvPr id="80" name="Picture 79">
              <a:extLst>
                <a:ext uri="{FF2B5EF4-FFF2-40B4-BE49-F238E27FC236}">
                  <a16:creationId xmlns:a16="http://schemas.microsoft.com/office/drawing/2014/main" id="{6F655C16-BE97-63A3-E735-F1F9BD50B6FD}"/>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9633863" y="1439190"/>
              <a:ext cx="1175117" cy="1175117"/>
            </a:xfrm>
            <a:prstGeom prst="rect">
              <a:avLst/>
            </a:prstGeom>
          </p:spPr>
        </p:pic>
      </p:grpSp>
      <p:grpSp>
        <p:nvGrpSpPr>
          <p:cNvPr id="2" name="Group 1">
            <a:extLst>
              <a:ext uri="{FF2B5EF4-FFF2-40B4-BE49-F238E27FC236}">
                <a16:creationId xmlns:a16="http://schemas.microsoft.com/office/drawing/2014/main" id="{485F8508-1330-D2CE-C2E9-3EBCD699F18F}"/>
              </a:ext>
            </a:extLst>
          </p:cNvPr>
          <p:cNvGrpSpPr/>
          <p:nvPr/>
        </p:nvGrpSpPr>
        <p:grpSpPr>
          <a:xfrm>
            <a:off x="8786697" y="3197776"/>
            <a:ext cx="1412789" cy="1301598"/>
            <a:chOff x="9035046" y="2930179"/>
            <a:chExt cx="1734356" cy="1597857"/>
          </a:xfrm>
        </p:grpSpPr>
        <p:pic>
          <p:nvPicPr>
            <p:cNvPr id="5" name="Picture 4">
              <a:extLst>
                <a:ext uri="{FF2B5EF4-FFF2-40B4-BE49-F238E27FC236}">
                  <a16:creationId xmlns:a16="http://schemas.microsoft.com/office/drawing/2014/main" id="{04F4AE1F-B7CB-9DC4-0E2D-8760C01B56BE}"/>
                </a:ext>
              </a:extLst>
            </p:cNvPr>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9035046" y="2930179"/>
              <a:ext cx="1597857" cy="1597857"/>
            </a:xfrm>
            <a:prstGeom prst="rect">
              <a:avLst/>
            </a:prstGeom>
          </p:spPr>
        </p:pic>
        <p:pic>
          <p:nvPicPr>
            <p:cNvPr id="6" name="Picture 5">
              <a:extLst>
                <a:ext uri="{FF2B5EF4-FFF2-40B4-BE49-F238E27FC236}">
                  <a16:creationId xmlns:a16="http://schemas.microsoft.com/office/drawing/2014/main" id="{2E67C9A7-647F-99DD-C8CD-1D0D8BA1C3AA}"/>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9967685" y="3463504"/>
              <a:ext cx="801717" cy="801717"/>
            </a:xfrm>
            <a:prstGeom prst="rect">
              <a:avLst/>
            </a:prstGeom>
          </p:spPr>
        </p:pic>
      </p:grpSp>
      <p:pic>
        <p:nvPicPr>
          <p:cNvPr id="42" name="Picture 41">
            <a:extLst>
              <a:ext uri="{FF2B5EF4-FFF2-40B4-BE49-F238E27FC236}">
                <a16:creationId xmlns:a16="http://schemas.microsoft.com/office/drawing/2014/main" id="{0D311305-D07F-B52F-9CB4-D7CD9EB7D1D6}"/>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4530063" y="5032702"/>
            <a:ext cx="1260119" cy="1260119"/>
          </a:xfrm>
          <a:prstGeom prst="rect">
            <a:avLst/>
          </a:prstGeom>
        </p:spPr>
      </p:pic>
      <p:pic>
        <p:nvPicPr>
          <p:cNvPr id="53" name="Picture 52" descr="A picture containing text, electronics&#10;&#10;Description automatically generated">
            <a:extLst>
              <a:ext uri="{FF2B5EF4-FFF2-40B4-BE49-F238E27FC236}">
                <a16:creationId xmlns:a16="http://schemas.microsoft.com/office/drawing/2014/main" id="{7C5BC624-E75A-73E3-5BD2-EF732B699017}"/>
              </a:ext>
            </a:extLst>
          </p:cNvPr>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8407236" y="5179530"/>
            <a:ext cx="1084324" cy="1084324"/>
          </a:xfrm>
          <a:prstGeom prst="rect">
            <a:avLst/>
          </a:prstGeom>
        </p:spPr>
      </p:pic>
      <p:pic>
        <p:nvPicPr>
          <p:cNvPr id="54" name="Picture 53">
            <a:extLst>
              <a:ext uri="{FF2B5EF4-FFF2-40B4-BE49-F238E27FC236}">
                <a16:creationId xmlns:a16="http://schemas.microsoft.com/office/drawing/2014/main" id="{3E628B03-04EA-4C08-BC6B-C4A446B429F7}"/>
              </a:ext>
            </a:extLst>
          </p:cNvPr>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10132896" y="4696396"/>
            <a:ext cx="1837891" cy="1837891"/>
          </a:xfrm>
          <a:prstGeom prst="rect">
            <a:avLst/>
          </a:prstGeom>
        </p:spPr>
      </p:pic>
      <p:pic>
        <p:nvPicPr>
          <p:cNvPr id="63" name="Picture 62">
            <a:extLst>
              <a:ext uri="{FF2B5EF4-FFF2-40B4-BE49-F238E27FC236}">
                <a16:creationId xmlns:a16="http://schemas.microsoft.com/office/drawing/2014/main" id="{0592ED1A-D014-C0D1-A72A-71806143BF35}"/>
              </a:ext>
            </a:extLst>
          </p:cNvPr>
          <p:cNvPicPr>
            <a:picLocks noChangeAspect="1"/>
          </p:cNvPicPr>
          <p:nvPr/>
        </p:nvPicPr>
        <p:blipFill>
          <a:blip r:embed="rId19"/>
          <a:stretch>
            <a:fillRect/>
          </a:stretch>
        </p:blipFill>
        <p:spPr>
          <a:xfrm>
            <a:off x="6354659" y="4940607"/>
            <a:ext cx="1389464" cy="1389464"/>
          </a:xfrm>
          <a:prstGeom prst="rect">
            <a:avLst/>
          </a:prstGeom>
        </p:spPr>
      </p:pic>
      <p:sp>
        <p:nvSpPr>
          <p:cNvPr id="66" name="Rectangle 65">
            <a:extLst>
              <a:ext uri="{FF2B5EF4-FFF2-40B4-BE49-F238E27FC236}">
                <a16:creationId xmlns:a16="http://schemas.microsoft.com/office/drawing/2014/main" id="{788D837F-446B-4EE3-6A6B-0CF436E5D432}"/>
              </a:ext>
            </a:extLst>
          </p:cNvPr>
          <p:cNvSpPr/>
          <p:nvPr/>
        </p:nvSpPr>
        <p:spPr>
          <a:xfrm>
            <a:off x="477065" y="2314231"/>
            <a:ext cx="1737156" cy="3754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lumMod val="75000"/>
                  </a:schemeClr>
                </a:solidFill>
              </a:rPr>
              <a:t>NAND COMPONENTS</a:t>
            </a:r>
          </a:p>
        </p:txBody>
      </p:sp>
      <p:sp>
        <p:nvSpPr>
          <p:cNvPr id="67" name="Rectangle 66">
            <a:extLst>
              <a:ext uri="{FF2B5EF4-FFF2-40B4-BE49-F238E27FC236}">
                <a16:creationId xmlns:a16="http://schemas.microsoft.com/office/drawing/2014/main" id="{9F06FA8B-11FC-835E-F0C8-24933C3FC8B0}"/>
              </a:ext>
            </a:extLst>
          </p:cNvPr>
          <p:cNvSpPr/>
          <p:nvPr/>
        </p:nvSpPr>
        <p:spPr>
          <a:xfrm>
            <a:off x="2236917" y="2319394"/>
            <a:ext cx="1737156" cy="3754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lumMod val="75000"/>
                  </a:schemeClr>
                </a:solidFill>
              </a:rPr>
              <a:t>EMBEDDED </a:t>
            </a:r>
            <a:br>
              <a:rPr lang="en-US" sz="1200" b="1" dirty="0">
                <a:solidFill>
                  <a:schemeClr val="bg1">
                    <a:lumMod val="75000"/>
                  </a:schemeClr>
                </a:solidFill>
              </a:rPr>
            </a:br>
            <a:r>
              <a:rPr lang="en-US" sz="1200" b="1" dirty="0">
                <a:solidFill>
                  <a:schemeClr val="bg1">
                    <a:lumMod val="75000"/>
                  </a:schemeClr>
                </a:solidFill>
              </a:rPr>
              <a:t>NAND</a:t>
            </a:r>
          </a:p>
        </p:txBody>
      </p:sp>
      <p:sp>
        <p:nvSpPr>
          <p:cNvPr id="69" name="Rectangle 68">
            <a:extLst>
              <a:ext uri="{FF2B5EF4-FFF2-40B4-BE49-F238E27FC236}">
                <a16:creationId xmlns:a16="http://schemas.microsoft.com/office/drawing/2014/main" id="{6FE82DB0-AA58-9DD3-9696-91E554E0A113}"/>
              </a:ext>
            </a:extLst>
          </p:cNvPr>
          <p:cNvSpPr/>
          <p:nvPr/>
        </p:nvSpPr>
        <p:spPr>
          <a:xfrm>
            <a:off x="4054776" y="2323691"/>
            <a:ext cx="1737156" cy="3754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lumMod val="75000"/>
                  </a:schemeClr>
                </a:solidFill>
              </a:rPr>
              <a:t>NVMe-OVER-FABRIC BRIDGE ASIC</a:t>
            </a:r>
          </a:p>
        </p:txBody>
      </p:sp>
      <p:sp>
        <p:nvSpPr>
          <p:cNvPr id="70" name="Rectangle 69">
            <a:extLst>
              <a:ext uri="{FF2B5EF4-FFF2-40B4-BE49-F238E27FC236}">
                <a16:creationId xmlns:a16="http://schemas.microsoft.com/office/drawing/2014/main" id="{7250D9EA-9933-606D-1C2A-9E00EED62CC5}"/>
              </a:ext>
            </a:extLst>
          </p:cNvPr>
          <p:cNvSpPr/>
          <p:nvPr/>
        </p:nvSpPr>
        <p:spPr>
          <a:xfrm>
            <a:off x="6095133" y="2321249"/>
            <a:ext cx="1737156" cy="3754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lumMod val="75000"/>
                  </a:schemeClr>
                </a:solidFill>
              </a:rPr>
              <a:t>MEMORY</a:t>
            </a:r>
            <a:br>
              <a:rPr lang="en-US" sz="1200" b="1" dirty="0">
                <a:solidFill>
                  <a:schemeClr val="bg1">
                    <a:lumMod val="75000"/>
                  </a:schemeClr>
                </a:solidFill>
              </a:rPr>
            </a:br>
            <a:r>
              <a:rPr lang="en-US" sz="1200" b="1" dirty="0">
                <a:solidFill>
                  <a:schemeClr val="bg1">
                    <a:lumMod val="75000"/>
                  </a:schemeClr>
                </a:solidFill>
              </a:rPr>
              <a:t>CARDS</a:t>
            </a:r>
          </a:p>
        </p:txBody>
      </p:sp>
      <p:sp>
        <p:nvSpPr>
          <p:cNvPr id="71" name="Rectangle 70">
            <a:extLst>
              <a:ext uri="{FF2B5EF4-FFF2-40B4-BE49-F238E27FC236}">
                <a16:creationId xmlns:a16="http://schemas.microsoft.com/office/drawing/2014/main" id="{A7F39BB5-500F-08C1-9BA4-B88E5E3EB420}"/>
              </a:ext>
            </a:extLst>
          </p:cNvPr>
          <p:cNvSpPr/>
          <p:nvPr/>
        </p:nvSpPr>
        <p:spPr>
          <a:xfrm>
            <a:off x="7840007" y="2323912"/>
            <a:ext cx="1737156" cy="3754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lumMod val="75000"/>
                  </a:schemeClr>
                </a:solidFill>
              </a:rPr>
              <a:t>USB</a:t>
            </a:r>
            <a:br>
              <a:rPr lang="en-US" sz="1200" b="1" dirty="0">
                <a:solidFill>
                  <a:schemeClr val="bg1">
                    <a:lumMod val="75000"/>
                  </a:schemeClr>
                </a:solidFill>
              </a:rPr>
            </a:br>
            <a:r>
              <a:rPr lang="en-US" sz="1200" b="1" dirty="0">
                <a:solidFill>
                  <a:schemeClr val="bg1">
                    <a:lumMod val="75000"/>
                  </a:schemeClr>
                </a:solidFill>
              </a:rPr>
              <a:t>DRIVE</a:t>
            </a:r>
          </a:p>
        </p:txBody>
      </p:sp>
      <p:sp>
        <p:nvSpPr>
          <p:cNvPr id="72" name="Rectangle 71">
            <a:extLst>
              <a:ext uri="{FF2B5EF4-FFF2-40B4-BE49-F238E27FC236}">
                <a16:creationId xmlns:a16="http://schemas.microsoft.com/office/drawing/2014/main" id="{B5DFC680-4BF2-755D-017F-7E265721C287}"/>
              </a:ext>
            </a:extLst>
          </p:cNvPr>
          <p:cNvSpPr/>
          <p:nvPr/>
        </p:nvSpPr>
        <p:spPr>
          <a:xfrm>
            <a:off x="9438818" y="2319212"/>
            <a:ext cx="1737156" cy="3754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lumMod val="75000"/>
                  </a:schemeClr>
                </a:solidFill>
              </a:rPr>
              <a:t>PORTABLE</a:t>
            </a:r>
            <a:br>
              <a:rPr lang="en-US" sz="1200" b="1" dirty="0">
                <a:solidFill>
                  <a:schemeClr val="bg1">
                    <a:lumMod val="75000"/>
                  </a:schemeClr>
                </a:solidFill>
              </a:rPr>
            </a:br>
            <a:r>
              <a:rPr lang="en-US" sz="1200" b="1" dirty="0">
                <a:solidFill>
                  <a:schemeClr val="bg1">
                    <a:lumMod val="75000"/>
                  </a:schemeClr>
                </a:solidFill>
              </a:rPr>
              <a:t>STORAGE</a:t>
            </a:r>
          </a:p>
        </p:txBody>
      </p:sp>
      <p:sp>
        <p:nvSpPr>
          <p:cNvPr id="73" name="Rectangle 72">
            <a:extLst>
              <a:ext uri="{FF2B5EF4-FFF2-40B4-BE49-F238E27FC236}">
                <a16:creationId xmlns:a16="http://schemas.microsoft.com/office/drawing/2014/main" id="{2DD483C6-933E-4284-9149-0FFEA7CBA9FE}"/>
              </a:ext>
            </a:extLst>
          </p:cNvPr>
          <p:cNvSpPr/>
          <p:nvPr/>
        </p:nvSpPr>
        <p:spPr>
          <a:xfrm>
            <a:off x="8773607" y="4296908"/>
            <a:ext cx="1737156" cy="3754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lumMod val="75000"/>
                  </a:schemeClr>
                </a:solidFill>
              </a:rPr>
              <a:t>DIRECT-ATTACHED</a:t>
            </a:r>
            <a:br>
              <a:rPr lang="en-US" sz="1200" b="1" dirty="0">
                <a:solidFill>
                  <a:schemeClr val="bg1">
                    <a:lumMod val="75000"/>
                  </a:schemeClr>
                </a:solidFill>
              </a:rPr>
            </a:br>
            <a:r>
              <a:rPr lang="en-US" sz="1200" b="1" dirty="0">
                <a:solidFill>
                  <a:schemeClr val="bg1">
                    <a:lumMod val="75000"/>
                  </a:schemeClr>
                </a:solidFill>
              </a:rPr>
              <a:t>STORAGE</a:t>
            </a:r>
          </a:p>
        </p:txBody>
      </p:sp>
      <p:sp>
        <p:nvSpPr>
          <p:cNvPr id="74" name="Rectangle 73">
            <a:extLst>
              <a:ext uri="{FF2B5EF4-FFF2-40B4-BE49-F238E27FC236}">
                <a16:creationId xmlns:a16="http://schemas.microsoft.com/office/drawing/2014/main" id="{27C825D7-B35F-AEF2-D928-A73F66ADC04D}"/>
              </a:ext>
            </a:extLst>
          </p:cNvPr>
          <p:cNvSpPr/>
          <p:nvPr/>
        </p:nvSpPr>
        <p:spPr>
          <a:xfrm>
            <a:off x="6425275" y="4296908"/>
            <a:ext cx="1737156" cy="3754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lumMod val="75000"/>
                  </a:schemeClr>
                </a:solidFill>
              </a:rPr>
              <a:t>NAS &amp; </a:t>
            </a:r>
            <a:br>
              <a:rPr lang="en-US" sz="1200" b="1" dirty="0">
                <a:solidFill>
                  <a:schemeClr val="bg1">
                    <a:lumMod val="75000"/>
                  </a:schemeClr>
                </a:solidFill>
              </a:rPr>
            </a:br>
            <a:r>
              <a:rPr lang="en-US" sz="1200" b="1" dirty="0">
                <a:solidFill>
                  <a:schemeClr val="bg1">
                    <a:lumMod val="75000"/>
                  </a:schemeClr>
                </a:solidFill>
              </a:rPr>
              <a:t>PERSONAL CLOUD</a:t>
            </a:r>
          </a:p>
        </p:txBody>
      </p:sp>
      <p:sp>
        <p:nvSpPr>
          <p:cNvPr id="75" name="Rectangle 74">
            <a:extLst>
              <a:ext uri="{FF2B5EF4-FFF2-40B4-BE49-F238E27FC236}">
                <a16:creationId xmlns:a16="http://schemas.microsoft.com/office/drawing/2014/main" id="{D986F08E-B209-F7E8-EB2A-D3BC341DDCF7}"/>
              </a:ext>
            </a:extLst>
          </p:cNvPr>
          <p:cNvSpPr/>
          <p:nvPr/>
        </p:nvSpPr>
        <p:spPr>
          <a:xfrm>
            <a:off x="4146788" y="4298805"/>
            <a:ext cx="1737156" cy="3754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lumMod val="75000"/>
                  </a:schemeClr>
                </a:solidFill>
              </a:rPr>
              <a:t>CLIENT</a:t>
            </a:r>
            <a:br>
              <a:rPr lang="en-US" sz="1200" b="1" dirty="0">
                <a:solidFill>
                  <a:schemeClr val="bg1">
                    <a:lumMod val="75000"/>
                  </a:schemeClr>
                </a:solidFill>
              </a:rPr>
            </a:br>
            <a:r>
              <a:rPr lang="en-US" sz="1200" b="1" dirty="0">
                <a:solidFill>
                  <a:schemeClr val="bg1">
                    <a:lumMod val="75000"/>
                  </a:schemeClr>
                </a:solidFill>
              </a:rPr>
              <a:t>HDD</a:t>
            </a:r>
          </a:p>
        </p:txBody>
      </p:sp>
      <p:sp>
        <p:nvSpPr>
          <p:cNvPr id="76" name="Rectangle 75">
            <a:extLst>
              <a:ext uri="{FF2B5EF4-FFF2-40B4-BE49-F238E27FC236}">
                <a16:creationId xmlns:a16="http://schemas.microsoft.com/office/drawing/2014/main" id="{55E29669-528A-3C6F-6DC3-B892927F8FBD}"/>
              </a:ext>
            </a:extLst>
          </p:cNvPr>
          <p:cNvSpPr/>
          <p:nvPr/>
        </p:nvSpPr>
        <p:spPr>
          <a:xfrm>
            <a:off x="1944133" y="4302112"/>
            <a:ext cx="1737156" cy="3754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lumMod val="75000"/>
                  </a:schemeClr>
                </a:solidFill>
              </a:rPr>
              <a:t>CLIENT</a:t>
            </a:r>
            <a:br>
              <a:rPr lang="en-US" sz="1200" b="1" dirty="0">
                <a:solidFill>
                  <a:schemeClr val="bg1">
                    <a:lumMod val="75000"/>
                  </a:schemeClr>
                </a:solidFill>
              </a:rPr>
            </a:br>
            <a:r>
              <a:rPr lang="en-US" sz="1200" b="1" dirty="0">
                <a:solidFill>
                  <a:schemeClr val="bg1">
                    <a:lumMod val="75000"/>
                  </a:schemeClr>
                </a:solidFill>
              </a:rPr>
              <a:t>SSD</a:t>
            </a:r>
          </a:p>
        </p:txBody>
      </p:sp>
      <p:sp>
        <p:nvSpPr>
          <p:cNvPr id="82" name="Rectangle 81">
            <a:extLst>
              <a:ext uri="{FF2B5EF4-FFF2-40B4-BE49-F238E27FC236}">
                <a16:creationId xmlns:a16="http://schemas.microsoft.com/office/drawing/2014/main" id="{15BC2029-77DC-5147-056E-886A6559B7F1}"/>
              </a:ext>
            </a:extLst>
          </p:cNvPr>
          <p:cNvSpPr/>
          <p:nvPr/>
        </p:nvSpPr>
        <p:spPr>
          <a:xfrm>
            <a:off x="2531158" y="6086736"/>
            <a:ext cx="1737156" cy="3754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lumMod val="75000"/>
                  </a:schemeClr>
                </a:solidFill>
              </a:rPr>
              <a:t>DATA CENTER</a:t>
            </a:r>
            <a:br>
              <a:rPr lang="en-US" sz="1200" b="1" dirty="0">
                <a:solidFill>
                  <a:schemeClr val="bg1">
                    <a:lumMod val="75000"/>
                  </a:schemeClr>
                </a:solidFill>
              </a:rPr>
            </a:br>
            <a:r>
              <a:rPr lang="en-US" sz="1200" b="1" dirty="0">
                <a:solidFill>
                  <a:schemeClr val="bg1">
                    <a:lumMod val="75000"/>
                  </a:schemeClr>
                </a:solidFill>
              </a:rPr>
              <a:t>SSD</a:t>
            </a:r>
          </a:p>
        </p:txBody>
      </p:sp>
      <p:sp>
        <p:nvSpPr>
          <p:cNvPr id="83" name="Rectangle 82">
            <a:extLst>
              <a:ext uri="{FF2B5EF4-FFF2-40B4-BE49-F238E27FC236}">
                <a16:creationId xmlns:a16="http://schemas.microsoft.com/office/drawing/2014/main" id="{BCAAFB2A-0158-6AB7-0CE8-165CCDC22530}"/>
              </a:ext>
            </a:extLst>
          </p:cNvPr>
          <p:cNvSpPr/>
          <p:nvPr/>
        </p:nvSpPr>
        <p:spPr>
          <a:xfrm>
            <a:off x="4291544" y="6089508"/>
            <a:ext cx="1737156" cy="3754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lumMod val="75000"/>
                  </a:schemeClr>
                </a:solidFill>
              </a:rPr>
              <a:t>JBOD &amp;</a:t>
            </a:r>
            <a:br>
              <a:rPr lang="en-US" sz="1200" b="1" dirty="0">
                <a:solidFill>
                  <a:schemeClr val="bg1">
                    <a:lumMod val="75000"/>
                  </a:schemeClr>
                </a:solidFill>
              </a:rPr>
            </a:br>
            <a:r>
              <a:rPr lang="en-US" sz="1200" b="1" dirty="0">
                <a:solidFill>
                  <a:schemeClr val="bg1">
                    <a:lumMod val="75000"/>
                  </a:schemeClr>
                </a:solidFill>
              </a:rPr>
              <a:t>JBOF</a:t>
            </a:r>
          </a:p>
        </p:txBody>
      </p:sp>
      <p:sp>
        <p:nvSpPr>
          <p:cNvPr id="84" name="Rectangle 83">
            <a:extLst>
              <a:ext uri="{FF2B5EF4-FFF2-40B4-BE49-F238E27FC236}">
                <a16:creationId xmlns:a16="http://schemas.microsoft.com/office/drawing/2014/main" id="{B909B6D4-D3E7-F568-EE2C-318364BAE1FA}"/>
              </a:ext>
            </a:extLst>
          </p:cNvPr>
          <p:cNvSpPr/>
          <p:nvPr/>
        </p:nvSpPr>
        <p:spPr>
          <a:xfrm>
            <a:off x="6110483" y="6086735"/>
            <a:ext cx="1737156" cy="3754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lumMod val="75000"/>
                  </a:schemeClr>
                </a:solidFill>
              </a:rPr>
              <a:t>STORAGE</a:t>
            </a:r>
            <a:br>
              <a:rPr lang="en-US" sz="1200" b="1" dirty="0">
                <a:solidFill>
                  <a:schemeClr val="bg1">
                    <a:lumMod val="75000"/>
                  </a:schemeClr>
                </a:solidFill>
              </a:rPr>
            </a:br>
            <a:r>
              <a:rPr lang="en-US" sz="1200" b="1" dirty="0">
                <a:solidFill>
                  <a:schemeClr val="bg1">
                    <a:lumMod val="75000"/>
                  </a:schemeClr>
                </a:solidFill>
              </a:rPr>
              <a:t>SERVER</a:t>
            </a:r>
          </a:p>
        </p:txBody>
      </p:sp>
      <p:sp>
        <p:nvSpPr>
          <p:cNvPr id="85" name="Rectangle 84">
            <a:extLst>
              <a:ext uri="{FF2B5EF4-FFF2-40B4-BE49-F238E27FC236}">
                <a16:creationId xmlns:a16="http://schemas.microsoft.com/office/drawing/2014/main" id="{7CD1226B-C780-72CB-F501-981B7156D698}"/>
              </a:ext>
            </a:extLst>
          </p:cNvPr>
          <p:cNvSpPr/>
          <p:nvPr/>
        </p:nvSpPr>
        <p:spPr>
          <a:xfrm>
            <a:off x="8080820" y="6089468"/>
            <a:ext cx="1737156" cy="3754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lumMod val="75000"/>
                  </a:schemeClr>
                </a:solidFill>
              </a:rPr>
              <a:t>NVMe-OVER-FABRIC BRIDGE ADAPTER</a:t>
            </a:r>
          </a:p>
        </p:txBody>
      </p:sp>
      <p:sp>
        <p:nvSpPr>
          <p:cNvPr id="86" name="Rectangle 85">
            <a:extLst>
              <a:ext uri="{FF2B5EF4-FFF2-40B4-BE49-F238E27FC236}">
                <a16:creationId xmlns:a16="http://schemas.microsoft.com/office/drawing/2014/main" id="{7E00A9CD-80C5-2376-1CA8-99DE363389C2}"/>
              </a:ext>
            </a:extLst>
          </p:cNvPr>
          <p:cNvSpPr/>
          <p:nvPr/>
        </p:nvSpPr>
        <p:spPr>
          <a:xfrm>
            <a:off x="10059437" y="6039772"/>
            <a:ext cx="2056779" cy="3754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b="1" dirty="0">
                <a:solidFill>
                  <a:schemeClr val="bg1">
                    <a:lumMod val="75000"/>
                  </a:schemeClr>
                </a:solidFill>
              </a:rPr>
              <a:t>OPENFLEX™ </a:t>
            </a:r>
            <a:br>
              <a:rPr lang="en-US" sz="1200" b="1" dirty="0">
                <a:solidFill>
                  <a:schemeClr val="bg1">
                    <a:lumMod val="75000"/>
                  </a:schemeClr>
                </a:solidFill>
              </a:rPr>
            </a:br>
            <a:r>
              <a:rPr lang="en-US" sz="1200" b="1" dirty="0">
                <a:solidFill>
                  <a:schemeClr val="bg1">
                    <a:lumMod val="75000"/>
                  </a:schemeClr>
                </a:solidFill>
              </a:rPr>
              <a:t>NVMe-OVER-FABRIC STORAGE</a:t>
            </a:r>
          </a:p>
        </p:txBody>
      </p:sp>
      <p:pic>
        <p:nvPicPr>
          <p:cNvPr id="87" name="Picture 86">
            <a:extLst>
              <a:ext uri="{FF2B5EF4-FFF2-40B4-BE49-F238E27FC236}">
                <a16:creationId xmlns:a16="http://schemas.microsoft.com/office/drawing/2014/main" id="{D9921AB7-CDDA-C080-1F63-D24601B7842F}"/>
              </a:ext>
            </a:extLst>
          </p:cNvPr>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rot="5400000">
            <a:off x="10084227" y="1553254"/>
            <a:ext cx="1221976" cy="1221976"/>
          </a:xfrm>
          <a:prstGeom prst="rect">
            <a:avLst/>
          </a:prstGeom>
        </p:spPr>
      </p:pic>
      <p:pic>
        <p:nvPicPr>
          <p:cNvPr id="92" name="Picture 91">
            <a:extLst>
              <a:ext uri="{FF2B5EF4-FFF2-40B4-BE49-F238E27FC236}">
                <a16:creationId xmlns:a16="http://schemas.microsoft.com/office/drawing/2014/main" id="{8A92E29B-E1E2-8A5E-F3FE-F839601B1A35}"/>
              </a:ext>
            </a:extLst>
          </p:cNvPr>
          <p:cNvPicPr>
            <a:picLocks noChangeAspect="1"/>
          </p:cNvPicPr>
          <p:nvPr/>
        </p:nvPicPr>
        <p:blipFill>
          <a:blip r:embed="rId21"/>
          <a:stretch>
            <a:fillRect/>
          </a:stretch>
        </p:blipFill>
        <p:spPr>
          <a:xfrm>
            <a:off x="6599662" y="3130160"/>
            <a:ext cx="1381352" cy="1179695"/>
          </a:xfrm>
          <a:prstGeom prst="rect">
            <a:avLst/>
          </a:prstGeom>
        </p:spPr>
      </p:pic>
      <p:pic>
        <p:nvPicPr>
          <p:cNvPr id="96" name="Picture 95">
            <a:extLst>
              <a:ext uri="{FF2B5EF4-FFF2-40B4-BE49-F238E27FC236}">
                <a16:creationId xmlns:a16="http://schemas.microsoft.com/office/drawing/2014/main" id="{2443A49C-2313-AFE2-7706-38F7545A47F4}"/>
              </a:ext>
            </a:extLst>
          </p:cNvPr>
          <p:cNvPicPr>
            <a:picLocks noChangeAspect="1"/>
          </p:cNvPicPr>
          <p:nvPr/>
        </p:nvPicPr>
        <p:blipFill>
          <a:blip r:embed="rId22"/>
          <a:stretch>
            <a:fillRect/>
          </a:stretch>
        </p:blipFill>
        <p:spPr>
          <a:xfrm>
            <a:off x="815697" y="5055780"/>
            <a:ext cx="1628021" cy="1136886"/>
          </a:xfrm>
          <a:prstGeom prst="rect">
            <a:avLst/>
          </a:prstGeom>
        </p:spPr>
      </p:pic>
      <p:pic>
        <p:nvPicPr>
          <p:cNvPr id="97" name="Picture 96">
            <a:extLst>
              <a:ext uri="{FF2B5EF4-FFF2-40B4-BE49-F238E27FC236}">
                <a16:creationId xmlns:a16="http://schemas.microsoft.com/office/drawing/2014/main" id="{A6A7F649-595D-7235-CA6B-AF8CB576CD26}"/>
              </a:ext>
            </a:extLst>
          </p:cNvPr>
          <p:cNvPicPr>
            <a:picLocks noChangeAspect="1"/>
          </p:cNvPicPr>
          <p:nvPr/>
        </p:nvPicPr>
        <p:blipFill>
          <a:blip r:embed="rId23"/>
          <a:stretch>
            <a:fillRect/>
          </a:stretch>
        </p:blipFill>
        <p:spPr>
          <a:xfrm>
            <a:off x="1923239" y="3211641"/>
            <a:ext cx="1773670" cy="1125014"/>
          </a:xfrm>
          <a:prstGeom prst="rect">
            <a:avLst/>
          </a:prstGeom>
        </p:spPr>
      </p:pic>
      <p:pic>
        <p:nvPicPr>
          <p:cNvPr id="102" name="Picture 101">
            <a:extLst>
              <a:ext uri="{FF2B5EF4-FFF2-40B4-BE49-F238E27FC236}">
                <a16:creationId xmlns:a16="http://schemas.microsoft.com/office/drawing/2014/main" id="{B5C3F2F0-92C3-58F4-60B8-A865CFF73E8A}"/>
              </a:ext>
            </a:extLst>
          </p:cNvPr>
          <p:cNvPicPr>
            <a:picLocks noChangeAspect="1"/>
          </p:cNvPicPr>
          <p:nvPr/>
        </p:nvPicPr>
        <p:blipFill>
          <a:blip r:embed="rId24"/>
          <a:stretch>
            <a:fillRect/>
          </a:stretch>
        </p:blipFill>
        <p:spPr>
          <a:xfrm>
            <a:off x="4199133" y="3318759"/>
            <a:ext cx="1618547" cy="958350"/>
          </a:xfrm>
          <a:prstGeom prst="rect">
            <a:avLst/>
          </a:prstGeom>
        </p:spPr>
      </p:pic>
      <p:pic>
        <p:nvPicPr>
          <p:cNvPr id="103" name="Picture 102">
            <a:extLst>
              <a:ext uri="{FF2B5EF4-FFF2-40B4-BE49-F238E27FC236}">
                <a16:creationId xmlns:a16="http://schemas.microsoft.com/office/drawing/2014/main" id="{479E7293-3669-AD1D-85D9-957615BE08EB}"/>
              </a:ext>
            </a:extLst>
          </p:cNvPr>
          <p:cNvPicPr>
            <a:picLocks noChangeAspect="1"/>
          </p:cNvPicPr>
          <p:nvPr/>
        </p:nvPicPr>
        <p:blipFill>
          <a:blip r:embed="rId25"/>
          <a:stretch>
            <a:fillRect/>
          </a:stretch>
        </p:blipFill>
        <p:spPr>
          <a:xfrm>
            <a:off x="2833414" y="5239608"/>
            <a:ext cx="1140659" cy="825355"/>
          </a:xfrm>
          <a:prstGeom prst="rect">
            <a:avLst/>
          </a:prstGeom>
        </p:spPr>
      </p:pic>
      <p:pic>
        <p:nvPicPr>
          <p:cNvPr id="106" name="Picture 105">
            <a:extLst>
              <a:ext uri="{FF2B5EF4-FFF2-40B4-BE49-F238E27FC236}">
                <a16:creationId xmlns:a16="http://schemas.microsoft.com/office/drawing/2014/main" id="{AB8FDBEE-7634-FC31-A594-C2803161A29B}"/>
              </a:ext>
            </a:extLst>
          </p:cNvPr>
          <p:cNvPicPr>
            <a:picLocks noChangeAspect="1"/>
          </p:cNvPicPr>
          <p:nvPr/>
        </p:nvPicPr>
        <p:blipFill>
          <a:blip r:embed="rId26"/>
          <a:stretch>
            <a:fillRect/>
          </a:stretch>
        </p:blipFill>
        <p:spPr>
          <a:xfrm>
            <a:off x="4594730" y="5288437"/>
            <a:ext cx="1089031" cy="335785"/>
          </a:xfrm>
          <a:prstGeom prst="rect">
            <a:avLst/>
          </a:prstGeom>
        </p:spPr>
      </p:pic>
      <p:sp>
        <p:nvSpPr>
          <p:cNvPr id="81" name="Rectangle 80">
            <a:extLst>
              <a:ext uri="{FF2B5EF4-FFF2-40B4-BE49-F238E27FC236}">
                <a16:creationId xmlns:a16="http://schemas.microsoft.com/office/drawing/2014/main" id="{8A0C8EA4-4FBB-C7BD-735C-76CE8E71B8DF}"/>
              </a:ext>
            </a:extLst>
          </p:cNvPr>
          <p:cNvSpPr/>
          <p:nvPr/>
        </p:nvSpPr>
        <p:spPr>
          <a:xfrm>
            <a:off x="673853" y="6086737"/>
            <a:ext cx="1737156" cy="3754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lumMod val="75000"/>
                  </a:schemeClr>
                </a:solidFill>
              </a:rPr>
              <a:t>DATA CENTER</a:t>
            </a:r>
            <a:br>
              <a:rPr lang="en-US" sz="1200" b="1" dirty="0">
                <a:solidFill>
                  <a:schemeClr val="bg1">
                    <a:lumMod val="75000"/>
                  </a:schemeClr>
                </a:solidFill>
              </a:rPr>
            </a:br>
            <a:r>
              <a:rPr lang="en-US" sz="1200" b="1" dirty="0">
                <a:solidFill>
                  <a:schemeClr val="bg1">
                    <a:lumMod val="75000"/>
                  </a:schemeClr>
                </a:solidFill>
              </a:rPr>
              <a:t>HDD</a:t>
            </a:r>
          </a:p>
        </p:txBody>
      </p:sp>
      <p:sp>
        <p:nvSpPr>
          <p:cNvPr id="7" name="Rectangle: Rounded Corners 6">
            <a:extLst>
              <a:ext uri="{FF2B5EF4-FFF2-40B4-BE49-F238E27FC236}">
                <a16:creationId xmlns:a16="http://schemas.microsoft.com/office/drawing/2014/main" id="{73E88948-26E5-4780-B86D-013970BFB84D}"/>
              </a:ext>
            </a:extLst>
          </p:cNvPr>
          <p:cNvSpPr/>
          <p:nvPr/>
        </p:nvSpPr>
        <p:spPr>
          <a:xfrm>
            <a:off x="566530" y="5055780"/>
            <a:ext cx="11549686" cy="1632775"/>
          </a:xfrm>
          <a:prstGeom prst="roundRect">
            <a:avLst/>
          </a:prstGeom>
          <a:noFill/>
          <a:ln w="635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184779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C27F2B8-F7D7-4462-B642-59EB195B1AEE}"/>
              </a:ext>
            </a:extLst>
          </p:cNvPr>
          <p:cNvSpPr>
            <a:spLocks noGrp="1"/>
          </p:cNvSpPr>
          <p:nvPr>
            <p:ph type="title"/>
          </p:nvPr>
        </p:nvSpPr>
        <p:spPr/>
        <p:txBody>
          <a:bodyPr/>
          <a:lstStyle/>
          <a:p>
            <a:r>
              <a:rPr lang="de-DE" dirty="0"/>
              <a:t>Ultrastar</a:t>
            </a:r>
            <a:r>
              <a:rPr lang="de-DE" sz="6000" baseline="100000" dirty="0"/>
              <a:t> TM</a:t>
            </a:r>
            <a:br>
              <a:rPr lang="de-DE" dirty="0"/>
            </a:br>
            <a:r>
              <a:rPr lang="de-DE" dirty="0"/>
              <a:t>HDD Portfolio</a:t>
            </a:r>
            <a:endParaRPr lang="en-US" dirty="0"/>
          </a:p>
        </p:txBody>
      </p:sp>
      <p:sp>
        <p:nvSpPr>
          <p:cNvPr id="5" name="Text Placeholder 4">
            <a:extLst>
              <a:ext uri="{FF2B5EF4-FFF2-40B4-BE49-F238E27FC236}">
                <a16:creationId xmlns:a16="http://schemas.microsoft.com/office/drawing/2014/main" id="{8816E02D-8B2B-43A5-A278-C0596E77C62B}"/>
              </a:ext>
            </a:extLst>
          </p:cNvPr>
          <p:cNvSpPr>
            <a:spLocks noGrp="1"/>
          </p:cNvSpPr>
          <p:nvPr>
            <p:ph type="body" sz="quarter" idx="15"/>
          </p:nvPr>
        </p:nvSpPr>
        <p:spPr/>
        <p:txBody>
          <a:bodyPr/>
          <a:lstStyle/>
          <a:p>
            <a:endParaRPr lang="en-US"/>
          </a:p>
        </p:txBody>
      </p:sp>
    </p:spTree>
    <p:extLst>
      <p:ext uri="{BB962C8B-B14F-4D97-AF65-F5344CB8AC3E}">
        <p14:creationId xmlns:p14="http://schemas.microsoft.com/office/powerpoint/2010/main" val="1499155037"/>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41523A7-209D-4181-A03F-980FD3371810}"/>
              </a:ext>
            </a:extLst>
          </p:cNvPr>
          <p:cNvSpPr>
            <a:spLocks noGrp="1"/>
          </p:cNvSpPr>
          <p:nvPr>
            <p:ph type="sldNum" sz="quarter" idx="4"/>
          </p:nvPr>
        </p:nvSpPr>
        <p:spPr/>
        <p:txBody>
          <a:bodyPr/>
          <a:lstStyle/>
          <a:p>
            <a:fld id="{4571BA12-316B-0A40-BB3D-1A8CDD33E9E5}" type="slidenum">
              <a:rPr lang="en-US" smtClean="0"/>
              <a:pPr/>
              <a:t>5</a:t>
            </a:fld>
            <a:endParaRPr lang="en-US" dirty="0"/>
          </a:p>
        </p:txBody>
      </p:sp>
      <p:sp>
        <p:nvSpPr>
          <p:cNvPr id="3" name="Rectangle 2">
            <a:extLst>
              <a:ext uri="{FF2B5EF4-FFF2-40B4-BE49-F238E27FC236}">
                <a16:creationId xmlns:a16="http://schemas.microsoft.com/office/drawing/2014/main" id="{18262E67-8636-45CF-BB9B-F061CB14E4E8}"/>
              </a:ext>
            </a:extLst>
          </p:cNvPr>
          <p:cNvSpPr/>
          <p:nvPr/>
        </p:nvSpPr>
        <p:spPr>
          <a:xfrm>
            <a:off x="0" y="387627"/>
            <a:ext cx="12192000" cy="647037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descr="A space ship in space&#10;&#10;Description automatically generated with low confidence">
            <a:extLst>
              <a:ext uri="{FF2B5EF4-FFF2-40B4-BE49-F238E27FC236}">
                <a16:creationId xmlns:a16="http://schemas.microsoft.com/office/drawing/2014/main" id="{AB951FD1-5644-4B1D-B0CE-6E569E09C7B6}"/>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5232" y="377689"/>
            <a:ext cx="11862340" cy="6470366"/>
          </a:xfrm>
          <a:prstGeom prst="rect">
            <a:avLst/>
          </a:prstGeom>
        </p:spPr>
      </p:pic>
      <p:sp>
        <p:nvSpPr>
          <p:cNvPr id="5" name="TextBox 4">
            <a:extLst>
              <a:ext uri="{FF2B5EF4-FFF2-40B4-BE49-F238E27FC236}">
                <a16:creationId xmlns:a16="http://schemas.microsoft.com/office/drawing/2014/main" id="{A3DEC161-9D6D-469E-9F67-53E1D34B23F3}"/>
              </a:ext>
            </a:extLst>
          </p:cNvPr>
          <p:cNvSpPr txBox="1"/>
          <p:nvPr/>
        </p:nvSpPr>
        <p:spPr>
          <a:xfrm>
            <a:off x="8217848" y="2618183"/>
            <a:ext cx="2838605" cy="609269"/>
          </a:xfrm>
          <a:prstGeom prst="rect">
            <a:avLst/>
          </a:prstGeom>
          <a:noFill/>
        </p:spPr>
        <p:txBody>
          <a:bodyPr wrap="square">
            <a:spAutoFit/>
          </a:bodyPr>
          <a:lstStyle/>
          <a:p>
            <a:pPr marL="0" marR="0" lvl="0" indent="0" algn="l" defTabSz="622300" rtl="0" eaLnBrk="1" fontAlgn="auto" latinLnBrk="0" hangingPunct="1">
              <a:lnSpc>
                <a:spcPct val="85000"/>
              </a:lnSpc>
              <a:spcBef>
                <a:spcPct val="0"/>
              </a:spcBef>
              <a:spcAft>
                <a:spcPts val="50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FK Grotesk Medium" pitchFamily="2" charset="77"/>
                <a:ea typeface="+mn-ea"/>
                <a:cs typeface="+mn-cs"/>
              </a:rPr>
              <a:t>Magnetic Media</a:t>
            </a:r>
          </a:p>
          <a:p>
            <a:pPr marL="0" marR="0" lvl="0" indent="0" algn="l" defTabSz="622300" rtl="0" eaLnBrk="1" fontAlgn="auto" latinLnBrk="0" hangingPunct="1">
              <a:lnSpc>
                <a:spcPct val="85000"/>
              </a:lnSpc>
              <a:spcBef>
                <a:spcPct val="0"/>
              </a:spcBef>
              <a:spcAft>
                <a:spcPts val="50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FK Grotesk" pitchFamily="2" charset="77"/>
                <a:ea typeface="+mn-ea"/>
                <a:cs typeface="+mn-cs"/>
              </a:rPr>
              <a:t>Ultra-Thin </a:t>
            </a:r>
            <a:r>
              <a:rPr kumimoji="0" lang="en-US" sz="1400" b="1" i="0" u="none" strike="noStrike" kern="1200" cap="none" spc="0" normalizeH="0" baseline="0" noProof="0" dirty="0" err="1">
                <a:ln>
                  <a:noFill/>
                </a:ln>
                <a:solidFill>
                  <a:srgbClr val="000000"/>
                </a:solidFill>
                <a:effectLst/>
                <a:uLnTx/>
                <a:uFillTx/>
                <a:latin typeface="FK Grotesk" pitchFamily="2" charset="77"/>
                <a:ea typeface="+mn-ea"/>
                <a:cs typeface="+mn-cs"/>
              </a:rPr>
              <a:t>AlMg</a:t>
            </a:r>
            <a:r>
              <a:rPr kumimoji="0" lang="en-US" sz="1400" b="1" i="0" u="none" strike="noStrike" kern="1200" cap="none" spc="0" normalizeH="0" baseline="0" noProof="0" dirty="0">
                <a:ln>
                  <a:noFill/>
                </a:ln>
                <a:solidFill>
                  <a:srgbClr val="000000"/>
                </a:solidFill>
                <a:effectLst/>
                <a:uLnTx/>
                <a:uFillTx/>
                <a:latin typeface="FK Grotesk" pitchFamily="2" charset="77"/>
                <a:ea typeface="+mn-ea"/>
                <a:cs typeface="+mn-cs"/>
              </a:rPr>
              <a:t> Substrates</a:t>
            </a:r>
          </a:p>
        </p:txBody>
      </p:sp>
      <p:sp>
        <p:nvSpPr>
          <p:cNvPr id="6" name="TextBox 5">
            <a:extLst>
              <a:ext uri="{FF2B5EF4-FFF2-40B4-BE49-F238E27FC236}">
                <a16:creationId xmlns:a16="http://schemas.microsoft.com/office/drawing/2014/main" id="{3CD15179-1F5B-4809-943C-4F34894923A0}"/>
              </a:ext>
            </a:extLst>
          </p:cNvPr>
          <p:cNvSpPr txBox="1"/>
          <p:nvPr/>
        </p:nvSpPr>
        <p:spPr>
          <a:xfrm>
            <a:off x="8277483" y="5875539"/>
            <a:ext cx="3690090" cy="609269"/>
          </a:xfrm>
          <a:prstGeom prst="rect">
            <a:avLst/>
          </a:prstGeom>
          <a:noFill/>
        </p:spPr>
        <p:txBody>
          <a:bodyPr wrap="square">
            <a:spAutoFit/>
          </a:bodyPr>
          <a:lstStyle/>
          <a:p>
            <a:pPr marL="0" marR="0" lvl="0" indent="0" algn="l" defTabSz="622300" rtl="0" eaLnBrk="1" fontAlgn="auto" latinLnBrk="0" hangingPunct="1">
              <a:lnSpc>
                <a:spcPct val="85000"/>
              </a:lnSpc>
              <a:spcBef>
                <a:spcPct val="0"/>
              </a:spcBef>
              <a:spcAft>
                <a:spcPts val="50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FK Grotesk Medium" pitchFamily="2" charset="77"/>
                <a:ea typeface="+mn-ea"/>
                <a:cs typeface="+mn-cs"/>
              </a:rPr>
              <a:t>SOC and Flash</a:t>
            </a:r>
          </a:p>
          <a:p>
            <a:pPr marL="0" marR="0" lvl="0" indent="0" algn="l" defTabSz="622300" rtl="0" eaLnBrk="1" fontAlgn="auto" latinLnBrk="0" hangingPunct="1">
              <a:lnSpc>
                <a:spcPct val="85000"/>
              </a:lnSpc>
              <a:spcBef>
                <a:spcPct val="0"/>
              </a:spcBef>
              <a:spcAft>
                <a:spcPts val="50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FK Grotesk" pitchFamily="2" charset="77"/>
                <a:ea typeface="+mn-ea"/>
                <a:cs typeface="+mn-cs"/>
              </a:rPr>
              <a:t>DRAM Only  </a:t>
            </a:r>
            <a:r>
              <a:rPr kumimoji="0" lang="en-US" sz="1400" b="0" i="0" u="none" strike="noStrike" kern="1200" cap="none" spc="0" normalizeH="0" baseline="0" noProof="0" dirty="0">
                <a:ln>
                  <a:noFill/>
                </a:ln>
                <a:solidFill>
                  <a:srgbClr val="000000"/>
                </a:solidFill>
                <a:effectLst/>
                <a:uLnTx/>
                <a:uFillTx/>
                <a:latin typeface="FK Grotesk" pitchFamily="2" charset="77"/>
                <a:ea typeface="+mn-ea"/>
                <a:cs typeface="+mn-cs"/>
              </a:rPr>
              <a:t>|</a:t>
            </a:r>
            <a:r>
              <a:rPr kumimoji="0" lang="en-US" sz="1400" b="1" i="0" u="none" strike="noStrike" kern="1200" cap="none" spc="0" normalizeH="0" baseline="0" noProof="0" dirty="0">
                <a:ln>
                  <a:noFill/>
                </a:ln>
                <a:solidFill>
                  <a:srgbClr val="000000"/>
                </a:solidFill>
                <a:effectLst/>
                <a:uLnTx/>
                <a:uFillTx/>
                <a:latin typeface="FK Grotesk" pitchFamily="2" charset="77"/>
                <a:ea typeface="+mn-ea"/>
                <a:cs typeface="+mn-cs"/>
              </a:rPr>
              <a:t>  DRAM + </a:t>
            </a:r>
            <a:r>
              <a:rPr kumimoji="0" lang="en-US" sz="1400" b="1" i="0" u="none" strike="noStrike" kern="1200" cap="none" spc="0" normalizeH="0" baseline="0" noProof="0" dirty="0" err="1">
                <a:ln>
                  <a:noFill/>
                </a:ln>
                <a:solidFill>
                  <a:srgbClr val="000000"/>
                </a:solidFill>
                <a:effectLst/>
                <a:uLnTx/>
                <a:uFillTx/>
                <a:latin typeface="FK Grotesk" pitchFamily="2" charset="77"/>
                <a:ea typeface="+mn-ea"/>
                <a:cs typeface="+mn-cs"/>
              </a:rPr>
              <a:t>OptiNAND</a:t>
            </a:r>
            <a:endParaRPr kumimoji="0" lang="en-US" sz="1400" b="1" i="0" u="none" strike="noStrike" kern="1200" cap="none" spc="0" normalizeH="0" baseline="0" noProof="0" dirty="0">
              <a:ln>
                <a:noFill/>
              </a:ln>
              <a:solidFill>
                <a:srgbClr val="000000"/>
              </a:solidFill>
              <a:effectLst/>
              <a:uLnTx/>
              <a:uFillTx/>
              <a:latin typeface="FK Grotesk" pitchFamily="2" charset="77"/>
              <a:ea typeface="+mn-ea"/>
              <a:cs typeface="+mn-cs"/>
            </a:endParaRPr>
          </a:p>
        </p:txBody>
      </p:sp>
      <p:sp>
        <p:nvSpPr>
          <p:cNvPr id="7" name="TextBox 6">
            <a:extLst>
              <a:ext uri="{FF2B5EF4-FFF2-40B4-BE49-F238E27FC236}">
                <a16:creationId xmlns:a16="http://schemas.microsoft.com/office/drawing/2014/main" id="{E7581F11-1C63-456B-8571-FB94B3F4C814}"/>
              </a:ext>
            </a:extLst>
          </p:cNvPr>
          <p:cNvSpPr txBox="1"/>
          <p:nvPr/>
        </p:nvSpPr>
        <p:spPr>
          <a:xfrm>
            <a:off x="0" y="4000410"/>
            <a:ext cx="3959494" cy="609269"/>
          </a:xfrm>
          <a:prstGeom prst="rect">
            <a:avLst/>
          </a:prstGeom>
          <a:noFill/>
        </p:spPr>
        <p:txBody>
          <a:bodyPr wrap="square">
            <a:spAutoFit/>
          </a:bodyPr>
          <a:lstStyle/>
          <a:p>
            <a:pPr marL="0" marR="0" lvl="0" indent="0" algn="r" defTabSz="622300" rtl="0" eaLnBrk="1" fontAlgn="auto" latinLnBrk="0" hangingPunct="1">
              <a:lnSpc>
                <a:spcPct val="85000"/>
              </a:lnSpc>
              <a:spcBef>
                <a:spcPct val="0"/>
              </a:spcBef>
              <a:spcAft>
                <a:spcPts val="50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FK Grotesk Medium" pitchFamily="2" charset="77"/>
                <a:ea typeface="+mn-ea"/>
                <a:cs typeface="+mn-cs"/>
              </a:rPr>
              <a:t>Micro-Positioning</a:t>
            </a:r>
          </a:p>
          <a:p>
            <a:pPr marL="0" marR="0" lvl="0" indent="0" algn="r" defTabSz="622300" rtl="0" eaLnBrk="1" fontAlgn="auto" latinLnBrk="0" hangingPunct="1">
              <a:lnSpc>
                <a:spcPct val="85000"/>
              </a:lnSpc>
              <a:spcBef>
                <a:spcPct val="0"/>
              </a:spcBef>
              <a:spcAft>
                <a:spcPts val="50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FK Grotesk" pitchFamily="2" charset="77"/>
                <a:ea typeface="+mn-ea"/>
                <a:cs typeface="+mn-cs"/>
              </a:rPr>
              <a:t>Single Stage  </a:t>
            </a:r>
            <a:r>
              <a:rPr kumimoji="0" lang="en-US" sz="1400" b="0" i="0" u="none" strike="noStrike" kern="1200" cap="none" spc="0" normalizeH="0" baseline="0" noProof="0" dirty="0">
                <a:ln>
                  <a:noFill/>
                </a:ln>
                <a:solidFill>
                  <a:srgbClr val="000000"/>
                </a:solidFill>
                <a:effectLst/>
                <a:uLnTx/>
                <a:uFillTx/>
                <a:latin typeface="FK Grotesk" pitchFamily="2" charset="77"/>
                <a:ea typeface="+mn-ea"/>
                <a:cs typeface="+mn-cs"/>
              </a:rPr>
              <a:t>|</a:t>
            </a:r>
            <a:r>
              <a:rPr kumimoji="0" lang="en-US" sz="1400" b="1" i="0" u="none" strike="noStrike" kern="1200" cap="none" spc="0" normalizeH="0" baseline="0" noProof="0" dirty="0">
                <a:ln>
                  <a:noFill/>
                </a:ln>
                <a:solidFill>
                  <a:srgbClr val="000000"/>
                </a:solidFill>
                <a:effectLst/>
                <a:uLnTx/>
                <a:uFillTx/>
                <a:latin typeface="FK Grotesk" pitchFamily="2" charset="77"/>
                <a:ea typeface="+mn-ea"/>
                <a:cs typeface="+mn-cs"/>
              </a:rPr>
              <a:t>  Dual Stage  </a:t>
            </a:r>
            <a:r>
              <a:rPr kumimoji="0" lang="en-US" sz="1400" b="0" i="0" u="none" strike="noStrike" kern="1200" cap="none" spc="0" normalizeH="0" baseline="0" noProof="0" dirty="0">
                <a:ln>
                  <a:noFill/>
                </a:ln>
                <a:solidFill>
                  <a:srgbClr val="000000"/>
                </a:solidFill>
                <a:effectLst/>
                <a:uLnTx/>
                <a:uFillTx/>
                <a:latin typeface="FK Grotesk" pitchFamily="2" charset="77"/>
                <a:ea typeface="+mn-ea"/>
                <a:cs typeface="+mn-cs"/>
              </a:rPr>
              <a:t>|</a:t>
            </a:r>
            <a:r>
              <a:rPr kumimoji="0" lang="en-US" sz="1400" b="1" i="0" u="none" strike="noStrike" kern="1200" cap="none" spc="0" normalizeH="0" baseline="0" noProof="0" dirty="0">
                <a:ln>
                  <a:noFill/>
                </a:ln>
                <a:solidFill>
                  <a:srgbClr val="000000"/>
                </a:solidFill>
                <a:effectLst/>
                <a:uLnTx/>
                <a:uFillTx/>
                <a:latin typeface="FK Grotesk" pitchFamily="2" charset="77"/>
                <a:ea typeface="+mn-ea"/>
                <a:cs typeface="+mn-cs"/>
              </a:rPr>
              <a:t>  Triple Stage Actuation</a:t>
            </a:r>
            <a:endParaRPr kumimoji="0" lang="en-US" sz="3600" b="0" i="0" u="none" strike="noStrike" kern="1200" cap="none" spc="0" normalizeH="0" baseline="0" noProof="0" dirty="0">
              <a:ln>
                <a:noFill/>
              </a:ln>
              <a:solidFill>
                <a:srgbClr val="000000"/>
              </a:solidFill>
              <a:effectLst/>
              <a:uLnTx/>
              <a:uFillTx/>
              <a:latin typeface="FK Grotesk Medium" pitchFamily="2" charset="77"/>
              <a:ea typeface="+mn-ea"/>
              <a:cs typeface="+mn-cs"/>
            </a:endParaRPr>
          </a:p>
        </p:txBody>
      </p:sp>
      <p:sp>
        <p:nvSpPr>
          <p:cNvPr id="8" name="TextBox 7">
            <a:extLst>
              <a:ext uri="{FF2B5EF4-FFF2-40B4-BE49-F238E27FC236}">
                <a16:creationId xmlns:a16="http://schemas.microsoft.com/office/drawing/2014/main" id="{CED99687-563E-45CA-BFDE-7DC534D99980}"/>
              </a:ext>
            </a:extLst>
          </p:cNvPr>
          <p:cNvSpPr txBox="1"/>
          <p:nvPr/>
        </p:nvSpPr>
        <p:spPr>
          <a:xfrm>
            <a:off x="477078" y="5742978"/>
            <a:ext cx="3313450" cy="609269"/>
          </a:xfrm>
          <a:prstGeom prst="rect">
            <a:avLst/>
          </a:prstGeom>
          <a:noFill/>
        </p:spPr>
        <p:txBody>
          <a:bodyPr wrap="square">
            <a:spAutoFit/>
          </a:bodyPr>
          <a:lstStyle/>
          <a:p>
            <a:pPr marL="0" marR="0" lvl="0" indent="0" algn="r" defTabSz="622300" rtl="0" eaLnBrk="1" fontAlgn="auto" latinLnBrk="0" hangingPunct="1">
              <a:lnSpc>
                <a:spcPct val="85000"/>
              </a:lnSpc>
              <a:spcBef>
                <a:spcPct val="0"/>
              </a:spcBef>
              <a:spcAft>
                <a:spcPts val="50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FK Grotesk Medium" pitchFamily="2" charset="77"/>
                <a:ea typeface="+mn-ea"/>
                <a:cs typeface="+mn-cs"/>
              </a:rPr>
              <a:t>Access Density</a:t>
            </a:r>
          </a:p>
          <a:p>
            <a:pPr marL="0" marR="0" lvl="0" indent="0" algn="r" defTabSz="622300" rtl="0" eaLnBrk="1" fontAlgn="auto" latinLnBrk="0" hangingPunct="1">
              <a:lnSpc>
                <a:spcPct val="85000"/>
              </a:lnSpc>
              <a:spcBef>
                <a:spcPct val="0"/>
              </a:spcBef>
              <a:spcAft>
                <a:spcPts val="50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FK Grotesk" pitchFamily="2" charset="77"/>
                <a:ea typeface="+mn-ea"/>
                <a:cs typeface="+mn-cs"/>
              </a:rPr>
              <a:t>1  Head Active at a Time  </a:t>
            </a:r>
            <a:r>
              <a:rPr kumimoji="0" lang="en-US" sz="1400" b="0" i="0" u="none" strike="noStrike" kern="1200" cap="none" spc="0" normalizeH="0" baseline="0" noProof="0" dirty="0">
                <a:ln>
                  <a:noFill/>
                </a:ln>
                <a:solidFill>
                  <a:srgbClr val="000000"/>
                </a:solidFill>
                <a:effectLst/>
                <a:uLnTx/>
                <a:uFillTx/>
                <a:latin typeface="FK Grotesk" pitchFamily="2" charset="77"/>
                <a:ea typeface="+mn-ea"/>
                <a:cs typeface="+mn-cs"/>
              </a:rPr>
              <a:t>|</a:t>
            </a:r>
            <a:r>
              <a:rPr kumimoji="0" lang="en-US" sz="1400" b="1" i="0" u="none" strike="noStrike" kern="1200" cap="none" spc="0" normalizeH="0" baseline="0" noProof="0" dirty="0">
                <a:ln>
                  <a:noFill/>
                </a:ln>
                <a:solidFill>
                  <a:srgbClr val="000000"/>
                </a:solidFill>
                <a:effectLst/>
                <a:uLnTx/>
                <a:uFillTx/>
                <a:latin typeface="FK Grotesk" pitchFamily="2" charset="77"/>
                <a:ea typeface="+mn-ea"/>
                <a:cs typeface="+mn-cs"/>
              </a:rPr>
              <a:t>  2 Heads Active</a:t>
            </a:r>
            <a:endParaRPr kumimoji="0" lang="en-US" sz="1400" b="0" i="0" u="none" strike="noStrike" kern="1200" cap="none" spc="0" normalizeH="0" baseline="0" noProof="0" dirty="0">
              <a:ln>
                <a:noFill/>
              </a:ln>
              <a:solidFill>
                <a:srgbClr val="000000"/>
              </a:solidFill>
              <a:effectLst/>
              <a:uLnTx/>
              <a:uFillTx/>
              <a:latin typeface="FK Grotesk Medium" pitchFamily="2" charset="77"/>
              <a:ea typeface="+mn-ea"/>
              <a:cs typeface="+mn-cs"/>
            </a:endParaRPr>
          </a:p>
        </p:txBody>
      </p:sp>
      <p:sp>
        <p:nvSpPr>
          <p:cNvPr id="9" name="TextBox 8">
            <a:extLst>
              <a:ext uri="{FF2B5EF4-FFF2-40B4-BE49-F238E27FC236}">
                <a16:creationId xmlns:a16="http://schemas.microsoft.com/office/drawing/2014/main" id="{89AA35CB-3EFE-4207-9583-FABEB7F0F992}"/>
              </a:ext>
            </a:extLst>
          </p:cNvPr>
          <p:cNvSpPr txBox="1"/>
          <p:nvPr/>
        </p:nvSpPr>
        <p:spPr>
          <a:xfrm>
            <a:off x="8227787" y="4042891"/>
            <a:ext cx="3798137" cy="609269"/>
          </a:xfrm>
          <a:prstGeom prst="rect">
            <a:avLst/>
          </a:prstGeom>
          <a:noFill/>
        </p:spPr>
        <p:txBody>
          <a:bodyPr wrap="square">
            <a:spAutoFit/>
          </a:bodyPr>
          <a:lstStyle/>
          <a:p>
            <a:pPr marL="0" marR="0" lvl="0" indent="0" algn="l" defTabSz="622300" rtl="0" eaLnBrk="1" fontAlgn="auto" latinLnBrk="0" hangingPunct="1">
              <a:lnSpc>
                <a:spcPct val="85000"/>
              </a:lnSpc>
              <a:spcBef>
                <a:spcPct val="0"/>
              </a:spcBef>
              <a:spcAft>
                <a:spcPts val="50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FK Grotesk Medium" pitchFamily="2" charset="77"/>
                <a:ea typeface="+mn-ea"/>
                <a:cs typeface="+mn-cs"/>
              </a:rPr>
              <a:t>Recording Heads</a:t>
            </a:r>
          </a:p>
          <a:p>
            <a:pPr marL="0" marR="0" lvl="0" indent="0" algn="l" defTabSz="622300" rtl="0" eaLnBrk="1" fontAlgn="auto" latinLnBrk="0" hangingPunct="1">
              <a:lnSpc>
                <a:spcPct val="85000"/>
              </a:lnSpc>
              <a:spcBef>
                <a:spcPct val="0"/>
              </a:spcBef>
              <a:spcAft>
                <a:spcPts val="50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FK Grotesk" pitchFamily="2" charset="77"/>
                <a:ea typeface="+mn-ea"/>
                <a:cs typeface="+mn-cs"/>
              </a:rPr>
              <a:t>PMR  </a:t>
            </a:r>
            <a:r>
              <a:rPr kumimoji="0" lang="en-US" sz="1400" b="0" i="0" u="none" strike="noStrike" kern="1200" cap="none" spc="0" normalizeH="0" baseline="0" noProof="0" dirty="0">
                <a:ln>
                  <a:noFill/>
                </a:ln>
                <a:solidFill>
                  <a:srgbClr val="000000"/>
                </a:solidFill>
                <a:effectLst/>
                <a:uLnTx/>
                <a:uFillTx/>
                <a:latin typeface="FK Grotesk" pitchFamily="2" charset="77"/>
                <a:ea typeface="+mn-ea"/>
                <a:cs typeface="+mn-cs"/>
              </a:rPr>
              <a:t>|</a:t>
            </a:r>
            <a:r>
              <a:rPr kumimoji="0" lang="en-US" sz="1400" b="1" i="0" u="none" strike="noStrike" kern="1200" cap="none" spc="0" normalizeH="0" baseline="0" noProof="0" dirty="0">
                <a:ln>
                  <a:noFill/>
                </a:ln>
                <a:solidFill>
                  <a:srgbClr val="000000"/>
                </a:solidFill>
                <a:effectLst/>
                <a:uLnTx/>
                <a:uFillTx/>
                <a:latin typeface="FK Grotesk" pitchFamily="2" charset="77"/>
                <a:ea typeface="+mn-ea"/>
                <a:cs typeface="+mn-cs"/>
              </a:rPr>
              <a:t> </a:t>
            </a:r>
            <a:r>
              <a:rPr kumimoji="0" lang="en-US" sz="1400" b="1" i="0" u="none" strike="noStrike" kern="1200" cap="none" spc="0" normalizeH="0" baseline="0" noProof="0" dirty="0" err="1">
                <a:ln>
                  <a:noFill/>
                </a:ln>
                <a:solidFill>
                  <a:srgbClr val="000000"/>
                </a:solidFill>
                <a:effectLst/>
                <a:uLnTx/>
                <a:uFillTx/>
                <a:latin typeface="FK Grotesk" pitchFamily="2" charset="77"/>
                <a:ea typeface="+mn-ea"/>
                <a:cs typeface="+mn-cs"/>
              </a:rPr>
              <a:t>ePMR</a:t>
            </a:r>
            <a:endParaRPr kumimoji="0" lang="en-US" sz="3600" b="0" i="0" u="none" strike="noStrike" kern="1200" cap="none" spc="0" normalizeH="0" baseline="0" noProof="0" dirty="0">
              <a:ln>
                <a:noFill/>
              </a:ln>
              <a:solidFill>
                <a:srgbClr val="000000"/>
              </a:solidFill>
              <a:effectLst/>
              <a:uLnTx/>
              <a:uFillTx/>
              <a:latin typeface="FK Grotesk Medium" pitchFamily="2" charset="77"/>
              <a:ea typeface="+mn-ea"/>
              <a:cs typeface="+mn-cs"/>
            </a:endParaRPr>
          </a:p>
        </p:txBody>
      </p:sp>
      <p:sp>
        <p:nvSpPr>
          <p:cNvPr id="10" name="TextBox 9">
            <a:extLst>
              <a:ext uri="{FF2B5EF4-FFF2-40B4-BE49-F238E27FC236}">
                <a16:creationId xmlns:a16="http://schemas.microsoft.com/office/drawing/2014/main" id="{44482F2A-1B19-4A9C-95B0-C8ADBEEF3348}"/>
              </a:ext>
            </a:extLst>
          </p:cNvPr>
          <p:cNvSpPr txBox="1"/>
          <p:nvPr/>
        </p:nvSpPr>
        <p:spPr>
          <a:xfrm>
            <a:off x="8168154" y="707704"/>
            <a:ext cx="2451702" cy="365485"/>
          </a:xfrm>
          <a:prstGeom prst="rect">
            <a:avLst/>
          </a:prstGeom>
          <a:noFill/>
        </p:spPr>
        <p:txBody>
          <a:bodyPr wrap="square">
            <a:spAutoFit/>
          </a:bodyPr>
          <a:lstStyle/>
          <a:p>
            <a:pPr marL="0" marR="0" lvl="0" indent="0" algn="l" defTabSz="622300" rtl="0" eaLnBrk="1" fontAlgn="auto" latinLnBrk="0" hangingPunct="1">
              <a:lnSpc>
                <a:spcPct val="85000"/>
              </a:lnSpc>
              <a:spcBef>
                <a:spcPct val="0"/>
              </a:spcBef>
              <a:spcAft>
                <a:spcPts val="50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FK Grotesk Medium" pitchFamily="2" charset="77"/>
                <a:ea typeface="+mn-ea"/>
                <a:cs typeface="+mn-cs"/>
              </a:rPr>
              <a:t>Helium Seal </a:t>
            </a:r>
          </a:p>
        </p:txBody>
      </p:sp>
      <p:sp>
        <p:nvSpPr>
          <p:cNvPr id="11" name="TextBox 10">
            <a:extLst>
              <a:ext uri="{FF2B5EF4-FFF2-40B4-BE49-F238E27FC236}">
                <a16:creationId xmlns:a16="http://schemas.microsoft.com/office/drawing/2014/main" id="{8A6AFF96-0308-4B78-BFAF-4057CDFEAF98}"/>
              </a:ext>
            </a:extLst>
          </p:cNvPr>
          <p:cNvSpPr txBox="1"/>
          <p:nvPr/>
        </p:nvSpPr>
        <p:spPr>
          <a:xfrm>
            <a:off x="-113282" y="2655957"/>
            <a:ext cx="4072775" cy="609269"/>
          </a:xfrm>
          <a:prstGeom prst="rect">
            <a:avLst/>
          </a:prstGeom>
          <a:noFill/>
        </p:spPr>
        <p:txBody>
          <a:bodyPr wrap="square" lIns="91440" tIns="45720" rIns="91440" bIns="45720" anchor="t">
            <a:spAutoFit/>
          </a:bodyPr>
          <a:lstStyle/>
          <a:p>
            <a:pPr marL="0" marR="0" lvl="0" indent="0" algn="r" defTabSz="622300" rtl="0" eaLnBrk="1" fontAlgn="auto" latinLnBrk="0" hangingPunct="1">
              <a:lnSpc>
                <a:spcPct val="85000"/>
              </a:lnSpc>
              <a:spcBef>
                <a:spcPct val="0"/>
              </a:spcBef>
              <a:spcAft>
                <a:spcPts val="50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FK Grotesk Medium"/>
                <a:ea typeface="+mn-ea"/>
                <a:cs typeface="+mn-cs"/>
              </a:rPr>
              <a:t>Recording Format</a:t>
            </a:r>
          </a:p>
          <a:p>
            <a:pPr marL="0" marR="0" lvl="0" indent="0" algn="r" defTabSz="622300" rtl="0" eaLnBrk="1" fontAlgn="auto" latinLnBrk="0" hangingPunct="1">
              <a:lnSpc>
                <a:spcPct val="85000"/>
              </a:lnSpc>
              <a:spcBef>
                <a:spcPct val="0"/>
              </a:spcBef>
              <a:spcAft>
                <a:spcPts val="50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FK Grotesk"/>
                <a:ea typeface="+mn-ea"/>
                <a:cs typeface="+mn-cs"/>
              </a:rPr>
              <a:t>CMR  |  SMR  |  </a:t>
            </a:r>
            <a:r>
              <a:rPr kumimoji="0" lang="en-US" sz="1400" b="1" i="0" u="none" strike="noStrike" kern="1200" cap="none" spc="0" normalizeH="0" baseline="0" noProof="0" dirty="0" err="1">
                <a:ln>
                  <a:noFill/>
                </a:ln>
                <a:solidFill>
                  <a:srgbClr val="000000"/>
                </a:solidFill>
                <a:effectLst/>
                <a:uLnTx/>
                <a:uFillTx/>
                <a:latin typeface="FK Grotesk"/>
                <a:ea typeface="+mn-ea"/>
                <a:cs typeface="+mn-cs"/>
              </a:rPr>
              <a:t>UltraSMR</a:t>
            </a:r>
            <a:endParaRPr kumimoji="0" lang="en-US" sz="1400" b="1" i="0" u="none" strike="noStrike" kern="1200" cap="none" spc="0" normalizeH="0" baseline="0" noProof="0" dirty="0">
              <a:ln>
                <a:noFill/>
              </a:ln>
              <a:solidFill>
                <a:srgbClr val="000000"/>
              </a:solidFill>
              <a:effectLst/>
              <a:uLnTx/>
              <a:uFillTx/>
              <a:latin typeface="FK Grotesk" pitchFamily="2" charset="77"/>
              <a:ea typeface="+mn-ea"/>
              <a:cs typeface="+mn-cs"/>
            </a:endParaRPr>
          </a:p>
        </p:txBody>
      </p:sp>
      <p:cxnSp>
        <p:nvCxnSpPr>
          <p:cNvPr id="12" name="Straight Connector 11">
            <a:extLst>
              <a:ext uri="{FF2B5EF4-FFF2-40B4-BE49-F238E27FC236}">
                <a16:creationId xmlns:a16="http://schemas.microsoft.com/office/drawing/2014/main" id="{062F47A6-5631-4A97-879A-CFE958804E5F}"/>
              </a:ext>
            </a:extLst>
          </p:cNvPr>
          <p:cNvCxnSpPr>
            <a:cxnSpLocks/>
          </p:cNvCxnSpPr>
          <p:nvPr/>
        </p:nvCxnSpPr>
        <p:spPr>
          <a:xfrm flipH="1">
            <a:off x="3887771" y="2977141"/>
            <a:ext cx="1767594" cy="0"/>
          </a:xfrm>
          <a:prstGeom prst="line">
            <a:avLst/>
          </a:prstGeom>
          <a:ln w="12700">
            <a:solidFill>
              <a:schemeClr val="tx1"/>
            </a:solidFill>
            <a:headEnd type="oval" w="sm" len="sm"/>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06FFBC26-A95F-4195-B469-07C7135FA0DA}"/>
              </a:ext>
            </a:extLst>
          </p:cNvPr>
          <p:cNvCxnSpPr>
            <a:cxnSpLocks/>
          </p:cNvCxnSpPr>
          <p:nvPr/>
        </p:nvCxnSpPr>
        <p:spPr>
          <a:xfrm>
            <a:off x="6308408" y="4330909"/>
            <a:ext cx="1928942" cy="0"/>
          </a:xfrm>
          <a:prstGeom prst="line">
            <a:avLst/>
          </a:prstGeom>
          <a:ln w="12700">
            <a:solidFill>
              <a:schemeClr val="tx1"/>
            </a:solidFill>
            <a:headEnd type="oval" w="sm" len="sm"/>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DEBC25F-42DB-4BF2-8740-71D70CFE58F3}"/>
              </a:ext>
            </a:extLst>
          </p:cNvPr>
          <p:cNvCxnSpPr>
            <a:cxnSpLocks/>
          </p:cNvCxnSpPr>
          <p:nvPr/>
        </p:nvCxnSpPr>
        <p:spPr>
          <a:xfrm>
            <a:off x="7230565" y="888178"/>
            <a:ext cx="907395" cy="0"/>
          </a:xfrm>
          <a:prstGeom prst="line">
            <a:avLst/>
          </a:prstGeom>
          <a:ln w="12700">
            <a:solidFill>
              <a:schemeClr val="tx1"/>
            </a:solidFill>
            <a:headEnd type="oval" w="sm" len="sm"/>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C3667DDC-0E9D-43A0-A7B5-CC1CEFA0CB96}"/>
              </a:ext>
            </a:extLst>
          </p:cNvPr>
          <p:cNvCxnSpPr>
            <a:cxnSpLocks/>
          </p:cNvCxnSpPr>
          <p:nvPr/>
        </p:nvCxnSpPr>
        <p:spPr>
          <a:xfrm flipH="1">
            <a:off x="3889514" y="4342576"/>
            <a:ext cx="1954695" cy="0"/>
          </a:xfrm>
          <a:prstGeom prst="line">
            <a:avLst/>
          </a:prstGeom>
          <a:ln w="12700">
            <a:solidFill>
              <a:schemeClr val="tx1"/>
            </a:solidFill>
            <a:headEnd type="oval" w="sm" len="sm"/>
          </a:ln>
        </p:spPr>
        <p:style>
          <a:lnRef idx="1">
            <a:schemeClr val="accent1"/>
          </a:lnRef>
          <a:fillRef idx="0">
            <a:schemeClr val="accent1"/>
          </a:fillRef>
          <a:effectRef idx="0">
            <a:schemeClr val="accent1"/>
          </a:effectRef>
          <a:fontRef idx="minor">
            <a:schemeClr val="tx1"/>
          </a:fontRef>
        </p:style>
      </p:cxnSp>
      <p:grpSp>
        <p:nvGrpSpPr>
          <p:cNvPr id="19" name="Group 18">
            <a:extLst>
              <a:ext uri="{FF2B5EF4-FFF2-40B4-BE49-F238E27FC236}">
                <a16:creationId xmlns:a16="http://schemas.microsoft.com/office/drawing/2014/main" id="{D0063E5B-E39F-47A3-89BC-AEED151C326E}"/>
              </a:ext>
            </a:extLst>
          </p:cNvPr>
          <p:cNvGrpSpPr/>
          <p:nvPr/>
        </p:nvGrpSpPr>
        <p:grpSpPr>
          <a:xfrm>
            <a:off x="5985425" y="6194687"/>
            <a:ext cx="2292057" cy="76899"/>
            <a:chOff x="7138362" y="6323895"/>
            <a:chExt cx="2092901" cy="0"/>
          </a:xfrm>
        </p:grpSpPr>
        <p:cxnSp>
          <p:nvCxnSpPr>
            <p:cNvPr id="20" name="Straight Connector 19">
              <a:extLst>
                <a:ext uri="{FF2B5EF4-FFF2-40B4-BE49-F238E27FC236}">
                  <a16:creationId xmlns:a16="http://schemas.microsoft.com/office/drawing/2014/main" id="{B80B41C7-A8F8-4D18-A001-12FFCF11F02B}"/>
                </a:ext>
              </a:extLst>
            </p:cNvPr>
            <p:cNvCxnSpPr>
              <a:cxnSpLocks/>
            </p:cNvCxnSpPr>
            <p:nvPr/>
          </p:nvCxnSpPr>
          <p:spPr>
            <a:xfrm>
              <a:off x="7383379" y="6323895"/>
              <a:ext cx="1847884" cy="0"/>
            </a:xfrm>
            <a:prstGeom prst="line">
              <a:avLst/>
            </a:prstGeom>
            <a:ln w="12700">
              <a:solidFill>
                <a:schemeClr val="tx1"/>
              </a:solidFill>
              <a:headEnd type="none" w="sm" len="sm"/>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0CB9EBA9-AB99-465F-8A8F-4CF30F0D6A15}"/>
                </a:ext>
              </a:extLst>
            </p:cNvPr>
            <p:cNvCxnSpPr>
              <a:cxnSpLocks/>
            </p:cNvCxnSpPr>
            <p:nvPr/>
          </p:nvCxnSpPr>
          <p:spPr>
            <a:xfrm>
              <a:off x="7138362" y="6323895"/>
              <a:ext cx="245017" cy="0"/>
            </a:xfrm>
            <a:prstGeom prst="line">
              <a:avLst/>
            </a:prstGeom>
            <a:ln w="12700">
              <a:solidFill>
                <a:schemeClr val="bg1"/>
              </a:solidFill>
              <a:headEnd type="oval" w="sm" len="sm"/>
            </a:ln>
          </p:spPr>
          <p:style>
            <a:lnRef idx="1">
              <a:schemeClr val="accent1"/>
            </a:lnRef>
            <a:fillRef idx="0">
              <a:schemeClr val="accent1"/>
            </a:fillRef>
            <a:effectRef idx="0">
              <a:schemeClr val="accent1"/>
            </a:effectRef>
            <a:fontRef idx="minor">
              <a:schemeClr val="tx1"/>
            </a:fontRef>
          </p:style>
        </p:cxnSp>
      </p:grpSp>
      <p:grpSp>
        <p:nvGrpSpPr>
          <p:cNvPr id="22" name="Group 21">
            <a:extLst>
              <a:ext uri="{FF2B5EF4-FFF2-40B4-BE49-F238E27FC236}">
                <a16:creationId xmlns:a16="http://schemas.microsoft.com/office/drawing/2014/main" id="{A0515CC2-E61E-44AE-8340-F442155D8471}"/>
              </a:ext>
            </a:extLst>
          </p:cNvPr>
          <p:cNvGrpSpPr/>
          <p:nvPr/>
        </p:nvGrpSpPr>
        <p:grpSpPr>
          <a:xfrm>
            <a:off x="3740429" y="6048972"/>
            <a:ext cx="1368339" cy="0"/>
            <a:chOff x="4982817" y="6178179"/>
            <a:chExt cx="1368339" cy="0"/>
          </a:xfrm>
        </p:grpSpPr>
        <p:cxnSp>
          <p:nvCxnSpPr>
            <p:cNvPr id="23" name="Straight Connector 22">
              <a:extLst>
                <a:ext uri="{FF2B5EF4-FFF2-40B4-BE49-F238E27FC236}">
                  <a16:creationId xmlns:a16="http://schemas.microsoft.com/office/drawing/2014/main" id="{F3A27801-F00A-47FC-B4D8-5BD2FC8511B7}"/>
                </a:ext>
              </a:extLst>
            </p:cNvPr>
            <p:cNvCxnSpPr>
              <a:cxnSpLocks/>
            </p:cNvCxnSpPr>
            <p:nvPr/>
          </p:nvCxnSpPr>
          <p:spPr>
            <a:xfrm flipH="1">
              <a:off x="5518484" y="6178179"/>
              <a:ext cx="832672" cy="0"/>
            </a:xfrm>
            <a:prstGeom prst="line">
              <a:avLst/>
            </a:prstGeom>
            <a:ln w="12700">
              <a:solidFill>
                <a:schemeClr val="bg1"/>
              </a:solidFill>
              <a:headEnd type="oval" w="sm" len="sm"/>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B2E6BB37-E341-41D1-95B1-E0BBB24A9696}"/>
                </a:ext>
              </a:extLst>
            </p:cNvPr>
            <p:cNvCxnSpPr>
              <a:cxnSpLocks/>
            </p:cNvCxnSpPr>
            <p:nvPr/>
          </p:nvCxnSpPr>
          <p:spPr>
            <a:xfrm flipH="1">
              <a:off x="4982817" y="6178179"/>
              <a:ext cx="535667" cy="0"/>
            </a:xfrm>
            <a:prstGeom prst="line">
              <a:avLst/>
            </a:prstGeom>
            <a:ln w="12700">
              <a:solidFill>
                <a:schemeClr val="tx1"/>
              </a:solidFill>
              <a:headEnd type="none" w="sm" len="sm"/>
            </a:ln>
          </p:spPr>
          <p:style>
            <a:lnRef idx="1">
              <a:schemeClr val="accent1"/>
            </a:lnRef>
            <a:fillRef idx="0">
              <a:schemeClr val="accent1"/>
            </a:fillRef>
            <a:effectRef idx="0">
              <a:schemeClr val="accent1"/>
            </a:effectRef>
            <a:fontRef idx="minor">
              <a:schemeClr val="tx1"/>
            </a:fontRef>
          </p:style>
        </p:cxnSp>
      </p:grpSp>
      <p:cxnSp>
        <p:nvCxnSpPr>
          <p:cNvPr id="30" name="Straight Connector 29">
            <a:extLst>
              <a:ext uri="{FF2B5EF4-FFF2-40B4-BE49-F238E27FC236}">
                <a16:creationId xmlns:a16="http://schemas.microsoft.com/office/drawing/2014/main" id="{E9959D28-17E5-4654-B525-FA224618EAAD}"/>
              </a:ext>
            </a:extLst>
          </p:cNvPr>
          <p:cNvCxnSpPr>
            <a:cxnSpLocks/>
          </p:cNvCxnSpPr>
          <p:nvPr/>
        </p:nvCxnSpPr>
        <p:spPr>
          <a:xfrm>
            <a:off x="7253758" y="2919073"/>
            <a:ext cx="907395" cy="0"/>
          </a:xfrm>
          <a:prstGeom prst="line">
            <a:avLst/>
          </a:prstGeom>
          <a:ln w="12700">
            <a:solidFill>
              <a:schemeClr val="tx1"/>
            </a:solidFill>
            <a:headEnd type="oval" w="sm" len="sm"/>
          </a:ln>
        </p:spPr>
        <p:style>
          <a:lnRef idx="1">
            <a:schemeClr val="accent1"/>
          </a:lnRef>
          <a:fillRef idx="0">
            <a:schemeClr val="accent1"/>
          </a:fillRef>
          <a:effectRef idx="0">
            <a:schemeClr val="accent1"/>
          </a:effectRef>
          <a:fontRef idx="minor">
            <a:schemeClr val="tx1"/>
          </a:fontRef>
        </p:style>
      </p:cxnSp>
      <p:sp>
        <p:nvSpPr>
          <p:cNvPr id="49" name="Content Placeholder 2">
            <a:extLst>
              <a:ext uri="{FF2B5EF4-FFF2-40B4-BE49-F238E27FC236}">
                <a16:creationId xmlns:a16="http://schemas.microsoft.com/office/drawing/2014/main" id="{20473CD3-DE96-4424-ABEE-B628EA38D615}"/>
              </a:ext>
            </a:extLst>
          </p:cNvPr>
          <p:cNvSpPr txBox="1">
            <a:spLocks/>
          </p:cNvSpPr>
          <p:nvPr/>
        </p:nvSpPr>
        <p:spPr>
          <a:xfrm>
            <a:off x="274638" y="745814"/>
            <a:ext cx="3929614" cy="434158"/>
          </a:xfrm>
          <a:prstGeom prst="rect">
            <a:avLst/>
          </a:prstGeom>
        </p:spPr>
        <p:txBody>
          <a:bodyPr/>
          <a:lstStyle>
            <a:lvl1pPr marL="274320" indent="-274320" algn="l" defTabSz="914400" rtl="0" eaLnBrk="1" latinLnBrk="0" hangingPunct="1">
              <a:lnSpc>
                <a:spcPct val="100000"/>
              </a:lnSpc>
              <a:spcBef>
                <a:spcPts val="0"/>
              </a:spcBef>
              <a:spcAft>
                <a:spcPts val="1000"/>
              </a:spcAft>
              <a:buClrTx/>
              <a:buSzPct val="100000"/>
              <a:buFont typeface="Arial" panose="020B0604020202020204" pitchFamily="34" charset="0"/>
              <a:buChar char="•"/>
              <a:defRPr sz="2400" b="0" i="0" kern="1200">
                <a:solidFill>
                  <a:schemeClr val="tx1"/>
                </a:solidFill>
                <a:latin typeface="+mn-lt"/>
                <a:ea typeface="+mn-ea"/>
                <a:cs typeface="+mn-cs"/>
              </a:defRPr>
            </a:lvl1pPr>
            <a:lvl2pPr marL="548640" indent="-274320" algn="l" defTabSz="914400" rtl="0" eaLnBrk="1" latinLnBrk="0" hangingPunct="1">
              <a:lnSpc>
                <a:spcPct val="100000"/>
              </a:lnSpc>
              <a:spcBef>
                <a:spcPts val="0"/>
              </a:spcBef>
              <a:spcAft>
                <a:spcPts val="1000"/>
              </a:spcAft>
              <a:buClrTx/>
              <a:buSzPct val="100000"/>
              <a:buFont typeface="Arial" panose="020B0604020202020204" pitchFamily="34" charset="0"/>
              <a:buChar char="•"/>
              <a:defRPr sz="2400" b="0" i="0" kern="1200">
                <a:solidFill>
                  <a:schemeClr val="tx1"/>
                </a:solidFill>
                <a:latin typeface="+mn-lt"/>
                <a:ea typeface="+mn-ea"/>
                <a:cs typeface="+mn-cs"/>
              </a:defRPr>
            </a:lvl2pPr>
            <a:lvl3pPr marL="822960" indent="-274320" algn="l" defTabSz="914400" rtl="0" eaLnBrk="1" latinLnBrk="0" hangingPunct="1">
              <a:lnSpc>
                <a:spcPct val="100000"/>
              </a:lnSpc>
              <a:spcBef>
                <a:spcPts val="0"/>
              </a:spcBef>
              <a:spcAft>
                <a:spcPts val="1000"/>
              </a:spcAft>
              <a:buClrTx/>
              <a:buSzPct val="100000"/>
              <a:buFont typeface="Arial" panose="020B0604020202020204" pitchFamily="34" charset="0"/>
              <a:buChar char="•"/>
              <a:defRPr sz="2400" b="0" i="0" kern="1200">
                <a:solidFill>
                  <a:schemeClr val="tx1"/>
                </a:solidFill>
                <a:latin typeface="+mn-lt"/>
                <a:ea typeface="+mn-ea"/>
                <a:cs typeface="+mn-cs"/>
              </a:defRPr>
            </a:lvl3pPr>
            <a:lvl4pPr marL="1097280" indent="-274320" algn="l" defTabSz="914400" rtl="0" eaLnBrk="1" latinLnBrk="0" hangingPunct="1">
              <a:lnSpc>
                <a:spcPct val="100000"/>
              </a:lnSpc>
              <a:spcBef>
                <a:spcPts val="0"/>
              </a:spcBef>
              <a:spcAft>
                <a:spcPts val="1000"/>
              </a:spcAft>
              <a:buClrTx/>
              <a:buSzPct val="100000"/>
              <a:buFont typeface="Arial" panose="020B0604020202020204" pitchFamily="34" charset="0"/>
              <a:buChar char="•"/>
              <a:defRPr sz="2000" b="0" i="0" kern="1200">
                <a:solidFill>
                  <a:schemeClr val="tx1"/>
                </a:solidFill>
                <a:latin typeface="+mn-lt"/>
                <a:ea typeface="+mn-ea"/>
                <a:cs typeface="+mn-cs"/>
              </a:defRPr>
            </a:lvl4pPr>
            <a:lvl5pPr marL="1371600" indent="-274320" algn="l" defTabSz="914400" rtl="0" eaLnBrk="1" latinLnBrk="0" hangingPunct="1">
              <a:lnSpc>
                <a:spcPct val="100000"/>
              </a:lnSpc>
              <a:spcBef>
                <a:spcPts val="0"/>
              </a:spcBef>
              <a:spcAft>
                <a:spcPts val="1000"/>
              </a:spcAft>
              <a:buClrTx/>
              <a:buSzPct val="100000"/>
              <a:buFont typeface="Arial" panose="020B0604020202020204" pitchFamily="34" charset="0"/>
              <a:buChar char="•"/>
              <a:defRPr sz="2000" b="0" i="0" kern="1200">
                <a:solidFill>
                  <a:schemeClr val="tx1"/>
                </a:solidFill>
                <a:latin typeface="+mn-lt"/>
                <a:ea typeface="+mn-ea"/>
                <a:cs typeface="+mn-cs"/>
                <a:sym typeface="Wingdings" pitchFamily="2" charset="2"/>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DE" sz="2000" b="1" dirty="0"/>
              <a:t>Technology Building Blocks</a:t>
            </a:r>
            <a:endParaRPr lang="en-US" sz="2000" b="1" dirty="0"/>
          </a:p>
        </p:txBody>
      </p:sp>
    </p:spTree>
    <p:extLst>
      <p:ext uri="{BB962C8B-B14F-4D97-AF65-F5344CB8AC3E}">
        <p14:creationId xmlns:p14="http://schemas.microsoft.com/office/powerpoint/2010/main" val="285341756"/>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B7C3726-DA5F-4DFE-AFED-01793B60F27B}"/>
              </a:ext>
            </a:extLst>
          </p:cNvPr>
          <p:cNvSpPr>
            <a:spLocks noGrp="1"/>
          </p:cNvSpPr>
          <p:nvPr>
            <p:ph type="sldNum" sz="quarter" idx="4"/>
          </p:nvPr>
        </p:nvSpPr>
        <p:spPr/>
        <p:txBody>
          <a:bodyPr/>
          <a:lstStyle/>
          <a:p>
            <a:fld id="{4571BA12-316B-0A40-BB3D-1A8CDD33E9E5}" type="slidenum">
              <a:rPr lang="en-US" smtClean="0"/>
              <a:pPr/>
              <a:t>6</a:t>
            </a:fld>
            <a:endParaRPr lang="en-US" dirty="0"/>
          </a:p>
        </p:txBody>
      </p:sp>
      <p:grpSp>
        <p:nvGrpSpPr>
          <p:cNvPr id="4" name="Group 3">
            <a:extLst>
              <a:ext uri="{FF2B5EF4-FFF2-40B4-BE49-F238E27FC236}">
                <a16:creationId xmlns:a16="http://schemas.microsoft.com/office/drawing/2014/main" id="{259ABB9C-452C-409B-91CB-F0807431EEE0}"/>
              </a:ext>
            </a:extLst>
          </p:cNvPr>
          <p:cNvGrpSpPr/>
          <p:nvPr/>
        </p:nvGrpSpPr>
        <p:grpSpPr>
          <a:xfrm>
            <a:off x="222931" y="1532734"/>
            <a:ext cx="3840480" cy="4338132"/>
            <a:chOff x="7678572" y="1569540"/>
            <a:chExt cx="2624328" cy="4338132"/>
          </a:xfrm>
        </p:grpSpPr>
        <p:sp>
          <p:nvSpPr>
            <p:cNvPr id="5" name="Rectangle 4">
              <a:extLst>
                <a:ext uri="{FF2B5EF4-FFF2-40B4-BE49-F238E27FC236}">
                  <a16:creationId xmlns:a16="http://schemas.microsoft.com/office/drawing/2014/main" id="{069F5387-16CD-4394-A066-0C45D7CD7B4C}"/>
                </a:ext>
              </a:extLst>
            </p:cNvPr>
            <p:cNvSpPr/>
            <p:nvPr/>
          </p:nvSpPr>
          <p:spPr>
            <a:xfrm>
              <a:off x="7678572" y="4175579"/>
              <a:ext cx="2624328" cy="1732093"/>
            </a:xfrm>
            <a:prstGeom prst="rect">
              <a:avLst/>
            </a:prstGeom>
            <a:solidFill>
              <a:srgbClr val="2D608F"/>
            </a:solidFill>
            <a:ln w="28575" cap="flat" cmpd="sng"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000000"/>
                </a:solidFill>
                <a:effectLst/>
                <a:uLnTx/>
                <a:uFillTx/>
                <a:latin typeface="Verdana"/>
                <a:ea typeface="+mn-ea"/>
                <a:cs typeface="+mn-cs"/>
              </a:endParaRPr>
            </a:p>
          </p:txBody>
        </p:sp>
        <p:sp>
          <p:nvSpPr>
            <p:cNvPr id="6" name="Rectangle 5">
              <a:extLst>
                <a:ext uri="{FF2B5EF4-FFF2-40B4-BE49-F238E27FC236}">
                  <a16:creationId xmlns:a16="http://schemas.microsoft.com/office/drawing/2014/main" id="{43296F72-8C82-4201-8D52-A0DD1F829B30}"/>
                </a:ext>
              </a:extLst>
            </p:cNvPr>
            <p:cNvSpPr/>
            <p:nvPr/>
          </p:nvSpPr>
          <p:spPr>
            <a:xfrm>
              <a:off x="7692341" y="4264967"/>
              <a:ext cx="2586558" cy="1431161"/>
            </a:xfrm>
            <a:prstGeom prst="rect">
              <a:avLst/>
            </a:prstGeom>
          </p:spPr>
          <p:txBody>
            <a:bodyPr wrap="square">
              <a:spAutoFit/>
            </a:bodyPr>
            <a:lstStyle/>
            <a:p>
              <a:pPr algn="ctr">
                <a:spcBef>
                  <a:spcPts val="600"/>
                </a:spcBef>
              </a:pPr>
              <a:r>
                <a:rPr lang="en-US" b="1" dirty="0">
                  <a:solidFill>
                    <a:prstClr val="white"/>
                  </a:solidFill>
                  <a:latin typeface="Verdana" panose="020B0604030504040204" pitchFamily="34" charset="0"/>
                </a:rPr>
                <a:t>12Gb SAS/6Gb SATA</a:t>
              </a:r>
            </a:p>
            <a:p>
              <a:pPr algn="ctr">
                <a:spcBef>
                  <a:spcPts val="600"/>
                </a:spcBef>
              </a:pPr>
              <a:r>
                <a:rPr lang="en-US" sz="1600" dirty="0">
                  <a:solidFill>
                    <a:prstClr val="white"/>
                  </a:solidFill>
                  <a:latin typeface="Verdana" panose="020B0604030504040204" pitchFamily="34" charset="0"/>
                </a:rPr>
                <a:t>7200 RPM</a:t>
              </a:r>
            </a:p>
            <a:p>
              <a:pPr algn="ctr">
                <a:spcBef>
                  <a:spcPts val="600"/>
                </a:spcBef>
              </a:pPr>
              <a:r>
                <a:rPr lang="en-US" sz="1600" dirty="0">
                  <a:solidFill>
                    <a:prstClr val="white"/>
                  </a:solidFill>
                  <a:latin typeface="Verdana" panose="020B0604030504040204" pitchFamily="34" charset="0"/>
                </a:rPr>
                <a:t>4, 6, 8, 10 TB</a:t>
              </a:r>
            </a:p>
            <a:p>
              <a:pPr algn="ctr">
                <a:spcBef>
                  <a:spcPts val="600"/>
                </a:spcBef>
              </a:pPr>
              <a:r>
                <a:rPr lang="en-US" sz="1600" dirty="0">
                  <a:solidFill>
                    <a:prstClr val="white"/>
                  </a:solidFill>
                  <a:latin typeface="Verdana" panose="020B0604030504040204" pitchFamily="34" charset="0"/>
                </a:rPr>
                <a:t>3.5” LFF </a:t>
              </a:r>
            </a:p>
          </p:txBody>
        </p:sp>
        <p:sp>
          <p:nvSpPr>
            <p:cNvPr id="7" name="Rectangle 6">
              <a:extLst>
                <a:ext uri="{FF2B5EF4-FFF2-40B4-BE49-F238E27FC236}">
                  <a16:creationId xmlns:a16="http://schemas.microsoft.com/office/drawing/2014/main" id="{A524BDDE-63A2-4AF8-81E8-20A82489E92F}"/>
                </a:ext>
              </a:extLst>
            </p:cNvPr>
            <p:cNvSpPr/>
            <p:nvPr/>
          </p:nvSpPr>
          <p:spPr>
            <a:xfrm>
              <a:off x="7688099" y="1569540"/>
              <a:ext cx="2590800" cy="2606702"/>
            </a:xfrm>
            <a:prstGeom prst="rect">
              <a:avLst/>
            </a:prstGeom>
            <a:solidFill>
              <a:sysClr val="window" lastClr="FFFFFF"/>
            </a:solidFill>
            <a:ln w="28575" cap="flat" cmpd="sng" algn="ctr">
              <a:solidFill>
                <a:srgbClr val="2D608F"/>
              </a:solid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000000"/>
                </a:solidFill>
                <a:effectLst/>
                <a:uLnTx/>
                <a:uFillTx/>
                <a:latin typeface="Verdana"/>
                <a:ea typeface="+mn-ea"/>
                <a:cs typeface="+mn-cs"/>
              </a:endParaRPr>
            </a:p>
          </p:txBody>
        </p:sp>
      </p:grpSp>
      <p:grpSp>
        <p:nvGrpSpPr>
          <p:cNvPr id="8" name="Group 7">
            <a:extLst>
              <a:ext uri="{FF2B5EF4-FFF2-40B4-BE49-F238E27FC236}">
                <a16:creationId xmlns:a16="http://schemas.microsoft.com/office/drawing/2014/main" id="{CCB66D11-3DDF-4CA8-BAB4-1A43EB180388}"/>
              </a:ext>
            </a:extLst>
          </p:cNvPr>
          <p:cNvGrpSpPr/>
          <p:nvPr/>
        </p:nvGrpSpPr>
        <p:grpSpPr>
          <a:xfrm>
            <a:off x="4167949" y="1532734"/>
            <a:ext cx="3840480" cy="4338132"/>
            <a:chOff x="7678572" y="1569540"/>
            <a:chExt cx="2624328" cy="4338132"/>
          </a:xfrm>
        </p:grpSpPr>
        <p:sp>
          <p:nvSpPr>
            <p:cNvPr id="9" name="Rectangle 8">
              <a:extLst>
                <a:ext uri="{FF2B5EF4-FFF2-40B4-BE49-F238E27FC236}">
                  <a16:creationId xmlns:a16="http://schemas.microsoft.com/office/drawing/2014/main" id="{29947CA7-2331-42A0-88F7-C1CA70AD752F}"/>
                </a:ext>
              </a:extLst>
            </p:cNvPr>
            <p:cNvSpPr/>
            <p:nvPr/>
          </p:nvSpPr>
          <p:spPr>
            <a:xfrm>
              <a:off x="7678572" y="4175579"/>
              <a:ext cx="2624328" cy="1732093"/>
            </a:xfrm>
            <a:prstGeom prst="rect">
              <a:avLst/>
            </a:prstGeom>
            <a:solidFill>
              <a:srgbClr val="2D608F"/>
            </a:solidFill>
            <a:ln w="28575" cap="flat" cmpd="sng"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000000"/>
                </a:solidFill>
                <a:effectLst/>
                <a:uLnTx/>
                <a:uFillTx/>
                <a:latin typeface="Verdana"/>
                <a:ea typeface="+mn-ea"/>
                <a:cs typeface="+mn-cs"/>
              </a:endParaRPr>
            </a:p>
          </p:txBody>
        </p:sp>
        <p:sp>
          <p:nvSpPr>
            <p:cNvPr id="10" name="Rectangle 9">
              <a:extLst>
                <a:ext uri="{FF2B5EF4-FFF2-40B4-BE49-F238E27FC236}">
                  <a16:creationId xmlns:a16="http://schemas.microsoft.com/office/drawing/2014/main" id="{453A48F7-7F3D-40E1-AEFB-6116D394AA5B}"/>
                </a:ext>
              </a:extLst>
            </p:cNvPr>
            <p:cNvSpPr/>
            <p:nvPr/>
          </p:nvSpPr>
          <p:spPr>
            <a:xfrm>
              <a:off x="7692341" y="4264967"/>
              <a:ext cx="2586558" cy="1338828"/>
            </a:xfrm>
            <a:prstGeom prst="rect">
              <a:avLst/>
            </a:prstGeom>
          </p:spPr>
          <p:txBody>
            <a:bodyPr wrap="square">
              <a:spAutoFit/>
            </a:bodyPr>
            <a:lstStyle/>
            <a:p>
              <a:pPr algn="ctr">
                <a:spcBef>
                  <a:spcPts val="600"/>
                </a:spcBef>
              </a:pPr>
              <a:r>
                <a:rPr lang="en-US" b="1" dirty="0">
                  <a:solidFill>
                    <a:prstClr val="white"/>
                  </a:solidFill>
                  <a:latin typeface="Verdana" panose="020B0604030504040204" pitchFamily="34" charset="0"/>
                </a:rPr>
                <a:t>12Gb SAS/6Gb SATA</a:t>
              </a:r>
            </a:p>
            <a:p>
              <a:pPr algn="ctr">
                <a:spcBef>
                  <a:spcPts val="600"/>
                </a:spcBef>
              </a:pPr>
              <a:r>
                <a:rPr lang="en-US" sz="1600" dirty="0">
                  <a:solidFill>
                    <a:prstClr val="white"/>
                  </a:solidFill>
                  <a:latin typeface="Verdana" panose="020B0604030504040204" pitchFamily="34" charset="0"/>
                </a:rPr>
                <a:t>7200 RPM</a:t>
              </a:r>
            </a:p>
            <a:p>
              <a:pPr algn="ctr">
                <a:spcBef>
                  <a:spcPts val="600"/>
                </a:spcBef>
              </a:pPr>
              <a:r>
                <a:rPr lang="en-US" sz="1600" dirty="0">
                  <a:solidFill>
                    <a:prstClr val="white"/>
                  </a:solidFill>
                  <a:latin typeface="Verdana" panose="020B0604030504040204" pitchFamily="34" charset="0"/>
                </a:rPr>
                <a:t>12, 14 TB</a:t>
              </a:r>
            </a:p>
            <a:p>
              <a:pPr algn="ctr">
                <a:spcBef>
                  <a:spcPts val="600"/>
                </a:spcBef>
              </a:pPr>
              <a:r>
                <a:rPr lang="en-US" sz="1600" dirty="0">
                  <a:solidFill>
                    <a:prstClr val="white"/>
                  </a:solidFill>
                  <a:latin typeface="Verdana" panose="020B0604030504040204" pitchFamily="34" charset="0"/>
                </a:rPr>
                <a:t>3.5” LFF</a:t>
              </a:r>
            </a:p>
          </p:txBody>
        </p:sp>
        <p:sp>
          <p:nvSpPr>
            <p:cNvPr id="11" name="Rectangle 10">
              <a:extLst>
                <a:ext uri="{FF2B5EF4-FFF2-40B4-BE49-F238E27FC236}">
                  <a16:creationId xmlns:a16="http://schemas.microsoft.com/office/drawing/2014/main" id="{D6E387B6-EF1C-48E9-B96B-649EF930C4BB}"/>
                </a:ext>
              </a:extLst>
            </p:cNvPr>
            <p:cNvSpPr/>
            <p:nvPr/>
          </p:nvSpPr>
          <p:spPr>
            <a:xfrm>
              <a:off x="7688099" y="1569540"/>
              <a:ext cx="2590800" cy="2606702"/>
            </a:xfrm>
            <a:prstGeom prst="rect">
              <a:avLst/>
            </a:prstGeom>
            <a:solidFill>
              <a:sysClr val="window" lastClr="FFFFFF"/>
            </a:solidFill>
            <a:ln w="28575" cap="flat" cmpd="sng" algn="ctr">
              <a:solidFill>
                <a:srgbClr val="2D608F"/>
              </a:solid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000000"/>
                </a:solidFill>
                <a:effectLst/>
                <a:uLnTx/>
                <a:uFillTx/>
                <a:latin typeface="Verdana"/>
                <a:ea typeface="+mn-ea"/>
                <a:cs typeface="+mn-cs"/>
              </a:endParaRPr>
            </a:p>
          </p:txBody>
        </p:sp>
      </p:grpSp>
      <p:sp>
        <p:nvSpPr>
          <p:cNvPr id="12" name="Rectangle 11">
            <a:extLst>
              <a:ext uri="{FF2B5EF4-FFF2-40B4-BE49-F238E27FC236}">
                <a16:creationId xmlns:a16="http://schemas.microsoft.com/office/drawing/2014/main" id="{8D95AFD4-48CF-4044-814A-DAE264AD4FF6}"/>
              </a:ext>
            </a:extLst>
          </p:cNvPr>
          <p:cNvSpPr/>
          <p:nvPr/>
        </p:nvSpPr>
        <p:spPr>
          <a:xfrm>
            <a:off x="177733" y="1610173"/>
            <a:ext cx="3791415" cy="646331"/>
          </a:xfrm>
          <a:prstGeom prst="rect">
            <a:avLst/>
          </a:prstGeom>
        </p:spPr>
        <p:txBody>
          <a:bodyPr wrap="square">
            <a:spAutoFit/>
          </a:bodyPr>
          <a:lstStyle/>
          <a:p>
            <a:pPr algn="ctr">
              <a:defRPr/>
            </a:pPr>
            <a:r>
              <a:rPr lang="en-US" b="1" dirty="0">
                <a:solidFill>
                  <a:schemeClr val="accent1">
                    <a:lumMod val="75000"/>
                  </a:schemeClr>
                </a:solidFill>
              </a:rPr>
              <a:t>Ultrastar</a:t>
            </a:r>
            <a:r>
              <a:rPr lang="en-US" b="1" baseline="30000" dirty="0">
                <a:solidFill>
                  <a:schemeClr val="accent1">
                    <a:lumMod val="75000"/>
                  </a:schemeClr>
                </a:solidFill>
              </a:rPr>
              <a:t>®</a:t>
            </a:r>
            <a:r>
              <a:rPr lang="en-US" b="1" dirty="0">
                <a:solidFill>
                  <a:schemeClr val="accent1">
                    <a:lumMod val="75000"/>
                  </a:schemeClr>
                </a:solidFill>
              </a:rPr>
              <a:t> </a:t>
            </a:r>
            <a:br>
              <a:rPr lang="en-US" b="1" dirty="0">
                <a:solidFill>
                  <a:schemeClr val="accent1">
                    <a:lumMod val="75000"/>
                  </a:schemeClr>
                </a:solidFill>
              </a:rPr>
            </a:br>
            <a:r>
              <a:rPr lang="en-US" b="1" dirty="0">
                <a:solidFill>
                  <a:schemeClr val="accent1">
                    <a:lumMod val="75000"/>
                  </a:schemeClr>
                </a:solidFill>
              </a:rPr>
              <a:t>DC HC310/320/330</a:t>
            </a:r>
          </a:p>
        </p:txBody>
      </p:sp>
      <p:sp>
        <p:nvSpPr>
          <p:cNvPr id="13" name="Rectangle 12">
            <a:extLst>
              <a:ext uri="{FF2B5EF4-FFF2-40B4-BE49-F238E27FC236}">
                <a16:creationId xmlns:a16="http://schemas.microsoft.com/office/drawing/2014/main" id="{86F7FBCD-C828-4136-908D-524E3AEA47B8}"/>
              </a:ext>
            </a:extLst>
          </p:cNvPr>
          <p:cNvSpPr/>
          <p:nvPr/>
        </p:nvSpPr>
        <p:spPr>
          <a:xfrm>
            <a:off x="4167949" y="1596464"/>
            <a:ext cx="3804109" cy="646331"/>
          </a:xfrm>
          <a:prstGeom prst="rect">
            <a:avLst/>
          </a:prstGeom>
        </p:spPr>
        <p:txBody>
          <a:bodyPr wrap="square">
            <a:spAutoFit/>
          </a:bodyPr>
          <a:lstStyle/>
          <a:p>
            <a:pPr algn="ctr">
              <a:defRPr/>
            </a:pPr>
            <a:r>
              <a:rPr lang="en-US" b="1" dirty="0">
                <a:solidFill>
                  <a:schemeClr val="accent1">
                    <a:lumMod val="75000"/>
                  </a:schemeClr>
                </a:solidFill>
              </a:rPr>
              <a:t>Ultrastar</a:t>
            </a:r>
            <a:r>
              <a:rPr lang="en-US" b="1" baseline="30000" dirty="0">
                <a:solidFill>
                  <a:schemeClr val="accent1">
                    <a:lumMod val="75000"/>
                  </a:schemeClr>
                </a:solidFill>
              </a:rPr>
              <a:t>®</a:t>
            </a:r>
            <a:r>
              <a:rPr lang="en-US" b="1" dirty="0">
                <a:solidFill>
                  <a:schemeClr val="accent1">
                    <a:lumMod val="75000"/>
                  </a:schemeClr>
                </a:solidFill>
              </a:rPr>
              <a:t> </a:t>
            </a:r>
            <a:br>
              <a:rPr lang="en-US" b="1" dirty="0">
                <a:solidFill>
                  <a:schemeClr val="accent1">
                    <a:lumMod val="75000"/>
                  </a:schemeClr>
                </a:solidFill>
              </a:rPr>
            </a:br>
            <a:r>
              <a:rPr lang="en-US" b="1" dirty="0">
                <a:solidFill>
                  <a:schemeClr val="accent1">
                    <a:lumMod val="75000"/>
                  </a:schemeClr>
                </a:solidFill>
              </a:rPr>
              <a:t>DC HC520/530</a:t>
            </a:r>
          </a:p>
        </p:txBody>
      </p:sp>
      <p:pic>
        <p:nvPicPr>
          <p:cNvPr id="14" name="Picture 13">
            <a:extLst>
              <a:ext uri="{FF2B5EF4-FFF2-40B4-BE49-F238E27FC236}">
                <a16:creationId xmlns:a16="http://schemas.microsoft.com/office/drawing/2014/main" id="{E3948C12-DE24-4457-8349-7A2FA6A04813}"/>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5938133" y="2553057"/>
            <a:ext cx="875482" cy="1267573"/>
          </a:xfrm>
          <a:prstGeom prst="rect">
            <a:avLst/>
          </a:prstGeom>
        </p:spPr>
      </p:pic>
      <p:pic>
        <p:nvPicPr>
          <p:cNvPr id="15" name="Picture 14">
            <a:extLst>
              <a:ext uri="{FF2B5EF4-FFF2-40B4-BE49-F238E27FC236}">
                <a16:creationId xmlns:a16="http://schemas.microsoft.com/office/drawing/2014/main" id="{DF56EB10-A66D-4B18-8183-D7551F85A739}"/>
              </a:ext>
            </a:extLst>
          </p:cNvPr>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5370378" y="2560962"/>
            <a:ext cx="870023" cy="1259668"/>
          </a:xfrm>
          <a:prstGeom prst="rect">
            <a:avLst/>
          </a:prstGeom>
        </p:spPr>
      </p:pic>
      <p:grpSp>
        <p:nvGrpSpPr>
          <p:cNvPr id="17" name="Group 16">
            <a:extLst>
              <a:ext uri="{FF2B5EF4-FFF2-40B4-BE49-F238E27FC236}">
                <a16:creationId xmlns:a16="http://schemas.microsoft.com/office/drawing/2014/main" id="{C01D5E52-4914-41A2-9305-5B16B9388FD7}"/>
              </a:ext>
            </a:extLst>
          </p:cNvPr>
          <p:cNvGrpSpPr/>
          <p:nvPr/>
        </p:nvGrpSpPr>
        <p:grpSpPr>
          <a:xfrm>
            <a:off x="8117248" y="1528617"/>
            <a:ext cx="3840480" cy="4357420"/>
            <a:chOff x="7678572" y="1569540"/>
            <a:chExt cx="2624328" cy="4357420"/>
          </a:xfrm>
        </p:grpSpPr>
        <p:sp>
          <p:nvSpPr>
            <p:cNvPr id="18" name="Rectangle 17">
              <a:extLst>
                <a:ext uri="{FF2B5EF4-FFF2-40B4-BE49-F238E27FC236}">
                  <a16:creationId xmlns:a16="http://schemas.microsoft.com/office/drawing/2014/main" id="{BD935203-3506-4702-95B6-2AD75CDC698C}"/>
                </a:ext>
              </a:extLst>
            </p:cNvPr>
            <p:cNvSpPr/>
            <p:nvPr/>
          </p:nvSpPr>
          <p:spPr>
            <a:xfrm>
              <a:off x="7678572" y="4175579"/>
              <a:ext cx="2624328" cy="1732093"/>
            </a:xfrm>
            <a:prstGeom prst="rect">
              <a:avLst/>
            </a:prstGeom>
            <a:solidFill>
              <a:srgbClr val="2D608F"/>
            </a:solidFill>
            <a:ln w="28575" cap="flat" cmpd="sng"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000000"/>
                </a:solidFill>
                <a:effectLst/>
                <a:uLnTx/>
                <a:uFillTx/>
                <a:latin typeface="Verdana"/>
                <a:ea typeface="+mn-ea"/>
                <a:cs typeface="+mn-cs"/>
              </a:endParaRPr>
            </a:p>
          </p:txBody>
        </p:sp>
        <p:sp>
          <p:nvSpPr>
            <p:cNvPr id="19" name="Rectangle 18">
              <a:extLst>
                <a:ext uri="{FF2B5EF4-FFF2-40B4-BE49-F238E27FC236}">
                  <a16:creationId xmlns:a16="http://schemas.microsoft.com/office/drawing/2014/main" id="{6F097E0D-7C54-436D-A8CF-1524D9F04EAC}"/>
                </a:ext>
              </a:extLst>
            </p:cNvPr>
            <p:cNvSpPr/>
            <p:nvPr/>
          </p:nvSpPr>
          <p:spPr>
            <a:xfrm>
              <a:off x="7692341" y="4264967"/>
              <a:ext cx="2586558" cy="1661993"/>
            </a:xfrm>
            <a:prstGeom prst="rect">
              <a:avLst/>
            </a:prstGeom>
          </p:spPr>
          <p:txBody>
            <a:bodyPr wrap="square">
              <a:spAutoFit/>
            </a:bodyPr>
            <a:lstStyle/>
            <a:p>
              <a:pPr algn="ctr">
                <a:spcBef>
                  <a:spcPts val="600"/>
                </a:spcBef>
              </a:pPr>
              <a:r>
                <a:rPr lang="en-US" b="1" dirty="0">
                  <a:solidFill>
                    <a:prstClr val="white"/>
                  </a:solidFill>
                  <a:latin typeface="Verdana" panose="020B0604030504040204" pitchFamily="34" charset="0"/>
                </a:rPr>
                <a:t>12Gb SAS/6Gb SATA</a:t>
              </a:r>
            </a:p>
            <a:p>
              <a:pPr algn="ctr">
                <a:spcBef>
                  <a:spcPts val="600"/>
                </a:spcBef>
              </a:pPr>
              <a:r>
                <a:rPr lang="en-US" sz="1600" dirty="0">
                  <a:solidFill>
                    <a:prstClr val="white"/>
                  </a:solidFill>
                  <a:latin typeface="Verdana" panose="020B0604030504040204" pitchFamily="34" charset="0"/>
                </a:rPr>
                <a:t>7200 RPM</a:t>
              </a:r>
            </a:p>
            <a:p>
              <a:pPr algn="ctr">
                <a:spcBef>
                  <a:spcPts val="600"/>
                </a:spcBef>
              </a:pPr>
              <a:r>
                <a:rPr lang="en-US" sz="1600" dirty="0">
                  <a:solidFill>
                    <a:prstClr val="white"/>
                  </a:solidFill>
                  <a:latin typeface="Verdana" panose="020B0604030504040204" pitchFamily="34" charset="0"/>
                </a:rPr>
                <a:t>20 TB SMR, 26 TB in prep.</a:t>
              </a:r>
            </a:p>
            <a:p>
              <a:pPr algn="ctr">
                <a:spcBef>
                  <a:spcPts val="600"/>
                </a:spcBef>
              </a:pPr>
              <a:r>
                <a:rPr lang="en-US" sz="1600" dirty="0">
                  <a:solidFill>
                    <a:prstClr val="white"/>
                  </a:solidFill>
                  <a:latin typeface="Verdana" panose="020B0604030504040204" pitchFamily="34" charset="0"/>
                </a:rPr>
                <a:t>14/16/18, 20, 22 TB CMR</a:t>
              </a:r>
            </a:p>
            <a:p>
              <a:pPr algn="ctr">
                <a:spcBef>
                  <a:spcPts val="600"/>
                </a:spcBef>
              </a:pPr>
              <a:r>
                <a:rPr lang="en-US" sz="1600" dirty="0">
                  <a:solidFill>
                    <a:prstClr val="white"/>
                  </a:solidFill>
                  <a:latin typeface="Verdana" panose="020B0604030504040204" pitchFamily="34" charset="0"/>
                </a:rPr>
                <a:t>3.5” LFF</a:t>
              </a:r>
            </a:p>
          </p:txBody>
        </p:sp>
        <p:sp>
          <p:nvSpPr>
            <p:cNvPr id="20" name="Rectangle 19">
              <a:extLst>
                <a:ext uri="{FF2B5EF4-FFF2-40B4-BE49-F238E27FC236}">
                  <a16:creationId xmlns:a16="http://schemas.microsoft.com/office/drawing/2014/main" id="{CD434469-701C-48A3-A4C6-31CE105CA820}"/>
                </a:ext>
              </a:extLst>
            </p:cNvPr>
            <p:cNvSpPr/>
            <p:nvPr/>
          </p:nvSpPr>
          <p:spPr>
            <a:xfrm>
              <a:off x="7688099" y="1569540"/>
              <a:ext cx="2590800" cy="2606702"/>
            </a:xfrm>
            <a:prstGeom prst="rect">
              <a:avLst/>
            </a:prstGeom>
            <a:solidFill>
              <a:sysClr val="window" lastClr="FFFFFF"/>
            </a:solidFill>
            <a:ln w="28575" cap="flat" cmpd="sng" algn="ctr">
              <a:solidFill>
                <a:srgbClr val="2D608F"/>
              </a:solid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000000"/>
                </a:solidFill>
                <a:effectLst/>
                <a:uLnTx/>
                <a:uFillTx/>
                <a:latin typeface="Verdana"/>
                <a:ea typeface="+mn-ea"/>
                <a:cs typeface="+mn-cs"/>
              </a:endParaRPr>
            </a:p>
          </p:txBody>
        </p:sp>
      </p:grpSp>
      <p:sp>
        <p:nvSpPr>
          <p:cNvPr id="21" name="Rectangle 20">
            <a:extLst>
              <a:ext uri="{FF2B5EF4-FFF2-40B4-BE49-F238E27FC236}">
                <a16:creationId xmlns:a16="http://schemas.microsoft.com/office/drawing/2014/main" id="{D1A78FC4-8380-4A55-B441-8DF8613D8639}"/>
              </a:ext>
            </a:extLst>
          </p:cNvPr>
          <p:cNvSpPr/>
          <p:nvPr/>
        </p:nvSpPr>
        <p:spPr>
          <a:xfrm>
            <a:off x="8147066" y="1592347"/>
            <a:ext cx="3804109" cy="646331"/>
          </a:xfrm>
          <a:prstGeom prst="rect">
            <a:avLst/>
          </a:prstGeom>
        </p:spPr>
        <p:txBody>
          <a:bodyPr wrap="square">
            <a:spAutoFit/>
          </a:bodyPr>
          <a:lstStyle/>
          <a:p>
            <a:pPr algn="ctr">
              <a:defRPr/>
            </a:pPr>
            <a:r>
              <a:rPr lang="en-US" b="1" dirty="0">
                <a:solidFill>
                  <a:schemeClr val="accent1">
                    <a:lumMod val="75000"/>
                  </a:schemeClr>
                </a:solidFill>
              </a:rPr>
              <a:t>Ultrastar</a:t>
            </a:r>
            <a:r>
              <a:rPr lang="en-US" b="1" baseline="30000" dirty="0">
                <a:solidFill>
                  <a:schemeClr val="accent1">
                    <a:lumMod val="75000"/>
                  </a:schemeClr>
                </a:solidFill>
              </a:rPr>
              <a:t>®</a:t>
            </a:r>
            <a:r>
              <a:rPr lang="en-US" b="1" dirty="0">
                <a:solidFill>
                  <a:schemeClr val="accent1">
                    <a:lumMod val="75000"/>
                  </a:schemeClr>
                </a:solidFill>
              </a:rPr>
              <a:t> </a:t>
            </a:r>
            <a:br>
              <a:rPr lang="en-US" b="1" dirty="0">
                <a:solidFill>
                  <a:schemeClr val="accent1">
                    <a:lumMod val="75000"/>
                  </a:schemeClr>
                </a:solidFill>
              </a:rPr>
            </a:br>
            <a:r>
              <a:rPr lang="en-US" b="1" dirty="0">
                <a:solidFill>
                  <a:schemeClr val="accent1">
                    <a:lumMod val="75000"/>
                  </a:schemeClr>
                </a:solidFill>
              </a:rPr>
              <a:t>DC HC650 550/560/570 *)</a:t>
            </a:r>
          </a:p>
        </p:txBody>
      </p:sp>
      <p:pic>
        <p:nvPicPr>
          <p:cNvPr id="22" name="Picture 21">
            <a:extLst>
              <a:ext uri="{FF2B5EF4-FFF2-40B4-BE49-F238E27FC236}">
                <a16:creationId xmlns:a16="http://schemas.microsoft.com/office/drawing/2014/main" id="{D5B5B527-EC8D-4D08-B211-D980EB9417E2}"/>
              </a:ext>
            </a:extLst>
          </p:cNvPr>
          <p:cNvPicPr>
            <a:picLocks noChangeAspect="1"/>
          </p:cNvPicPr>
          <p:nvPr/>
        </p:nvPicPr>
        <p:blipFill>
          <a:blip r:embed="rId5"/>
          <a:stretch>
            <a:fillRect/>
          </a:stretch>
        </p:blipFill>
        <p:spPr>
          <a:xfrm>
            <a:off x="8241317" y="2494018"/>
            <a:ext cx="2053833" cy="1389720"/>
          </a:xfrm>
          <a:prstGeom prst="rect">
            <a:avLst/>
          </a:prstGeom>
        </p:spPr>
      </p:pic>
      <p:pic>
        <p:nvPicPr>
          <p:cNvPr id="23" name="Picture 2" descr="Ultrastar-dc-hc330-main">
            <a:extLst>
              <a:ext uri="{FF2B5EF4-FFF2-40B4-BE49-F238E27FC236}">
                <a16:creationId xmlns:a16="http://schemas.microsoft.com/office/drawing/2014/main" id="{592A0F83-2E4B-4A31-9C81-C45B416D7A2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493776" y="2594101"/>
            <a:ext cx="1252728" cy="1252728"/>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DF92C353-EF49-4D8D-B38F-F1570910DA79}"/>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2094972" y="2590527"/>
            <a:ext cx="835387" cy="1249177"/>
          </a:xfrm>
          <a:prstGeom prst="rect">
            <a:avLst/>
          </a:prstGeom>
        </p:spPr>
      </p:pic>
      <p:pic>
        <p:nvPicPr>
          <p:cNvPr id="25" name="Picture 24">
            <a:extLst>
              <a:ext uri="{FF2B5EF4-FFF2-40B4-BE49-F238E27FC236}">
                <a16:creationId xmlns:a16="http://schemas.microsoft.com/office/drawing/2014/main" id="{91894BA4-6862-4BEA-9B84-3C751504158A}"/>
              </a:ext>
            </a:extLst>
          </p:cNvPr>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1481340" y="2581662"/>
            <a:ext cx="836960" cy="1251529"/>
          </a:xfrm>
          <a:prstGeom prst="rect">
            <a:avLst/>
          </a:prstGeom>
        </p:spPr>
      </p:pic>
      <p:pic>
        <p:nvPicPr>
          <p:cNvPr id="26" name="Picture 25">
            <a:extLst>
              <a:ext uri="{FF2B5EF4-FFF2-40B4-BE49-F238E27FC236}">
                <a16:creationId xmlns:a16="http://schemas.microsoft.com/office/drawing/2014/main" id="{A6346FE3-1CD2-49C7-8F78-271899595597}"/>
              </a:ext>
            </a:extLst>
          </p:cNvPr>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866016" y="2576639"/>
            <a:ext cx="831022" cy="1242651"/>
          </a:xfrm>
          <a:prstGeom prst="rect">
            <a:avLst/>
          </a:prstGeom>
        </p:spPr>
      </p:pic>
      <p:sp>
        <p:nvSpPr>
          <p:cNvPr id="27" name="TextBox 26">
            <a:extLst>
              <a:ext uri="{FF2B5EF4-FFF2-40B4-BE49-F238E27FC236}">
                <a16:creationId xmlns:a16="http://schemas.microsoft.com/office/drawing/2014/main" id="{7DDBD8E1-4019-4CE0-ADE8-EE22AA81B5BC}"/>
              </a:ext>
            </a:extLst>
          </p:cNvPr>
          <p:cNvSpPr txBox="1"/>
          <p:nvPr/>
        </p:nvSpPr>
        <p:spPr>
          <a:xfrm>
            <a:off x="1341786" y="1013791"/>
            <a:ext cx="1837362" cy="400110"/>
          </a:xfrm>
          <a:prstGeom prst="rect">
            <a:avLst/>
          </a:prstGeom>
          <a:noFill/>
        </p:spPr>
        <p:txBody>
          <a:bodyPr wrap="none" rtlCol="0">
            <a:spAutoFit/>
          </a:bodyPr>
          <a:lstStyle/>
          <a:p>
            <a:r>
              <a:rPr lang="de-DE" sz="2000" b="1" dirty="0">
                <a:solidFill>
                  <a:schemeClr val="bg1"/>
                </a:solidFill>
              </a:rPr>
              <a:t>Air PMR/CMR</a:t>
            </a:r>
          </a:p>
        </p:txBody>
      </p:sp>
      <p:sp>
        <p:nvSpPr>
          <p:cNvPr id="28" name="TextBox 27">
            <a:extLst>
              <a:ext uri="{FF2B5EF4-FFF2-40B4-BE49-F238E27FC236}">
                <a16:creationId xmlns:a16="http://schemas.microsoft.com/office/drawing/2014/main" id="{0946B662-062E-4FBF-A240-D9C9E5DEAD8A}"/>
              </a:ext>
            </a:extLst>
          </p:cNvPr>
          <p:cNvSpPr txBox="1"/>
          <p:nvPr/>
        </p:nvSpPr>
        <p:spPr>
          <a:xfrm>
            <a:off x="4943062" y="1007167"/>
            <a:ext cx="2335896" cy="400110"/>
          </a:xfrm>
          <a:prstGeom prst="rect">
            <a:avLst/>
          </a:prstGeom>
          <a:noFill/>
        </p:spPr>
        <p:txBody>
          <a:bodyPr wrap="none" rtlCol="0">
            <a:spAutoFit/>
          </a:bodyPr>
          <a:lstStyle/>
          <a:p>
            <a:r>
              <a:rPr lang="de-DE" sz="2000" b="1" dirty="0">
                <a:solidFill>
                  <a:schemeClr val="bg1"/>
                </a:solidFill>
              </a:rPr>
              <a:t>Helium PMR/CMR</a:t>
            </a:r>
          </a:p>
        </p:txBody>
      </p:sp>
      <p:sp>
        <p:nvSpPr>
          <p:cNvPr id="29" name="TextBox 28">
            <a:extLst>
              <a:ext uri="{FF2B5EF4-FFF2-40B4-BE49-F238E27FC236}">
                <a16:creationId xmlns:a16="http://schemas.microsoft.com/office/drawing/2014/main" id="{82408A3B-9BA8-479C-8C5E-CBEAA1EB39FA}"/>
              </a:ext>
            </a:extLst>
          </p:cNvPr>
          <p:cNvSpPr txBox="1"/>
          <p:nvPr/>
        </p:nvSpPr>
        <p:spPr>
          <a:xfrm>
            <a:off x="7994367" y="1017106"/>
            <a:ext cx="4094391" cy="400110"/>
          </a:xfrm>
          <a:prstGeom prst="rect">
            <a:avLst/>
          </a:prstGeom>
          <a:noFill/>
        </p:spPr>
        <p:txBody>
          <a:bodyPr wrap="none" rtlCol="0">
            <a:spAutoFit/>
          </a:bodyPr>
          <a:lstStyle/>
          <a:p>
            <a:r>
              <a:rPr lang="de-DE" sz="2000" b="1" dirty="0">
                <a:solidFill>
                  <a:schemeClr val="bg1"/>
                </a:solidFill>
              </a:rPr>
              <a:t>Helium EAMR PMR/CMR + SMR</a:t>
            </a:r>
          </a:p>
        </p:txBody>
      </p:sp>
      <p:sp>
        <p:nvSpPr>
          <p:cNvPr id="30" name="TextBox 29">
            <a:extLst>
              <a:ext uri="{FF2B5EF4-FFF2-40B4-BE49-F238E27FC236}">
                <a16:creationId xmlns:a16="http://schemas.microsoft.com/office/drawing/2014/main" id="{E0E01A7B-E67E-456B-BB7C-020E4763E37B}"/>
              </a:ext>
            </a:extLst>
          </p:cNvPr>
          <p:cNvSpPr txBox="1"/>
          <p:nvPr/>
        </p:nvSpPr>
        <p:spPr>
          <a:xfrm>
            <a:off x="305673" y="5979219"/>
            <a:ext cx="11116191" cy="369332"/>
          </a:xfrm>
          <a:prstGeom prst="rect">
            <a:avLst/>
          </a:prstGeom>
          <a:noFill/>
        </p:spPr>
        <p:txBody>
          <a:bodyPr wrap="square">
            <a:spAutoFit/>
          </a:bodyPr>
          <a:lstStyle/>
          <a:p>
            <a:r>
              <a:rPr lang="en-US" b="1" dirty="0">
                <a:solidFill>
                  <a:schemeClr val="accent1">
                    <a:lumMod val="75000"/>
                  </a:schemeClr>
                </a:solidFill>
              </a:rPr>
              <a:t>*) DC HC 570 22TB SAS/SATA presently in Qualification with Ultrastar Platforms</a:t>
            </a:r>
            <a:endParaRPr lang="de-DE" dirty="0">
              <a:solidFill>
                <a:schemeClr val="accent1">
                  <a:lumMod val="75000"/>
                </a:schemeClr>
              </a:solidFill>
            </a:endParaRPr>
          </a:p>
        </p:txBody>
      </p:sp>
      <p:pic>
        <p:nvPicPr>
          <p:cNvPr id="31" name="Picture 6" descr="Ultrastar DC HC560 Left">
            <a:extLst>
              <a:ext uri="{FF2B5EF4-FFF2-40B4-BE49-F238E27FC236}">
                <a16:creationId xmlns:a16="http://schemas.microsoft.com/office/drawing/2014/main" id="{2C16D0CF-B5AB-44B3-9670-6D26707A79EF}"/>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558941" y="2400996"/>
            <a:ext cx="1660427" cy="1660427"/>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31" descr="A picture containing text, electronics, camera&#10;&#10;Description automatically generated">
            <a:extLst>
              <a:ext uri="{FF2B5EF4-FFF2-40B4-BE49-F238E27FC236}">
                <a16:creationId xmlns:a16="http://schemas.microsoft.com/office/drawing/2014/main" id="{4173EC1F-ACAB-4B92-944E-A7AE29E22364}"/>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10538216" y="2565128"/>
            <a:ext cx="918249" cy="1389720"/>
          </a:xfrm>
          <a:prstGeom prst="rect">
            <a:avLst/>
          </a:prstGeom>
        </p:spPr>
      </p:pic>
      <p:sp>
        <p:nvSpPr>
          <p:cNvPr id="33" name="TextBox 32">
            <a:extLst>
              <a:ext uri="{FF2B5EF4-FFF2-40B4-BE49-F238E27FC236}">
                <a16:creationId xmlns:a16="http://schemas.microsoft.com/office/drawing/2014/main" id="{2D23F62F-9D1F-42D3-8515-4A23592A135F}"/>
              </a:ext>
            </a:extLst>
          </p:cNvPr>
          <p:cNvSpPr txBox="1"/>
          <p:nvPr/>
        </p:nvSpPr>
        <p:spPr>
          <a:xfrm>
            <a:off x="937602" y="530086"/>
            <a:ext cx="2776722" cy="400110"/>
          </a:xfrm>
          <a:prstGeom prst="rect">
            <a:avLst/>
          </a:prstGeom>
          <a:noFill/>
        </p:spPr>
        <p:txBody>
          <a:bodyPr wrap="none" rtlCol="0">
            <a:spAutoFit/>
          </a:bodyPr>
          <a:lstStyle/>
          <a:p>
            <a:r>
              <a:rPr lang="de-DE" sz="2000" b="1" dirty="0">
                <a:solidFill>
                  <a:schemeClr val="accent1">
                    <a:lumMod val="60000"/>
                    <a:lumOff val="40000"/>
                  </a:schemeClr>
                </a:solidFill>
              </a:rPr>
              <a:t>Highest IOPS density</a:t>
            </a:r>
          </a:p>
        </p:txBody>
      </p:sp>
      <p:sp>
        <p:nvSpPr>
          <p:cNvPr id="34" name="TextBox 33">
            <a:extLst>
              <a:ext uri="{FF2B5EF4-FFF2-40B4-BE49-F238E27FC236}">
                <a16:creationId xmlns:a16="http://schemas.microsoft.com/office/drawing/2014/main" id="{12CAC19D-8EFD-46C0-96A5-2FB7FC717D73}"/>
              </a:ext>
            </a:extLst>
          </p:cNvPr>
          <p:cNvSpPr txBox="1"/>
          <p:nvPr/>
        </p:nvSpPr>
        <p:spPr>
          <a:xfrm>
            <a:off x="4310271" y="523462"/>
            <a:ext cx="3632726" cy="400110"/>
          </a:xfrm>
          <a:prstGeom prst="rect">
            <a:avLst/>
          </a:prstGeom>
          <a:noFill/>
        </p:spPr>
        <p:txBody>
          <a:bodyPr wrap="none" rtlCol="0">
            <a:spAutoFit/>
          </a:bodyPr>
          <a:lstStyle/>
          <a:p>
            <a:r>
              <a:rPr lang="de-DE" sz="2000" b="1" dirty="0">
                <a:solidFill>
                  <a:schemeClr val="accent1">
                    <a:lumMod val="60000"/>
                    <a:lumOff val="40000"/>
                  </a:schemeClr>
                </a:solidFill>
              </a:rPr>
              <a:t>Lowest Power Consumption</a:t>
            </a:r>
          </a:p>
        </p:txBody>
      </p:sp>
      <p:sp>
        <p:nvSpPr>
          <p:cNvPr id="35" name="TextBox 34">
            <a:extLst>
              <a:ext uri="{FF2B5EF4-FFF2-40B4-BE49-F238E27FC236}">
                <a16:creationId xmlns:a16="http://schemas.microsoft.com/office/drawing/2014/main" id="{9817A596-7DC4-43CA-B6E2-7CF14FF01C2B}"/>
              </a:ext>
            </a:extLst>
          </p:cNvPr>
          <p:cNvSpPr txBox="1"/>
          <p:nvPr/>
        </p:nvSpPr>
        <p:spPr>
          <a:xfrm>
            <a:off x="8395242" y="533401"/>
            <a:ext cx="3148619" cy="400110"/>
          </a:xfrm>
          <a:prstGeom prst="rect">
            <a:avLst/>
          </a:prstGeom>
          <a:noFill/>
        </p:spPr>
        <p:txBody>
          <a:bodyPr wrap="none" rtlCol="0">
            <a:spAutoFit/>
          </a:bodyPr>
          <a:lstStyle/>
          <a:p>
            <a:r>
              <a:rPr lang="de-DE" sz="2000" b="1" dirty="0">
                <a:solidFill>
                  <a:schemeClr val="accent1">
                    <a:lumMod val="60000"/>
                    <a:lumOff val="40000"/>
                  </a:schemeClr>
                </a:solidFill>
              </a:rPr>
              <a:t>Highest Storage Density</a:t>
            </a:r>
          </a:p>
        </p:txBody>
      </p:sp>
    </p:spTree>
    <p:extLst>
      <p:ext uri="{BB962C8B-B14F-4D97-AF65-F5344CB8AC3E}">
        <p14:creationId xmlns:p14="http://schemas.microsoft.com/office/powerpoint/2010/main" val="34591852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3"/>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4"/>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5"/>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3"/>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8"/>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4"/>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5"/>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8"/>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4"/>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7"/>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21"/>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22"/>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29"/>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31"/>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32"/>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35"/>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p:bldP spid="21" grpId="0"/>
      <p:bldP spid="27" grpId="0"/>
      <p:bldP spid="28" grpId="0"/>
      <p:bldP spid="29" grpId="0"/>
      <p:bldP spid="30" grpId="0"/>
      <p:bldP spid="33" grpId="0"/>
      <p:bldP spid="34" grpId="0"/>
      <p:bldP spid="35"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A04162-453D-5C44-B0B3-FB9992D0ADA4}"/>
              </a:ext>
            </a:extLst>
          </p:cNvPr>
          <p:cNvSpPr>
            <a:spLocks noGrp="1"/>
          </p:cNvSpPr>
          <p:nvPr>
            <p:ph type="title"/>
          </p:nvPr>
        </p:nvSpPr>
        <p:spPr>
          <a:xfrm>
            <a:off x="274638" y="897787"/>
            <a:ext cx="11647487" cy="615027"/>
          </a:xfrm>
        </p:spPr>
        <p:txBody>
          <a:bodyPr/>
          <a:lstStyle/>
          <a:p>
            <a:r>
              <a:rPr lang="en-US" dirty="0"/>
              <a:t>C- and D-Generation </a:t>
            </a:r>
            <a:br>
              <a:rPr lang="en-US" dirty="0"/>
            </a:br>
            <a:r>
              <a:rPr lang="en-US" dirty="0"/>
              <a:t>Family Overview</a:t>
            </a:r>
            <a:endParaRPr lang="en-US" sz="3600" dirty="0">
              <a:solidFill>
                <a:schemeClr val="tx2"/>
              </a:solidFill>
            </a:endParaRPr>
          </a:p>
        </p:txBody>
      </p:sp>
      <p:sp>
        <p:nvSpPr>
          <p:cNvPr id="5" name="TextBox 4">
            <a:extLst>
              <a:ext uri="{FF2B5EF4-FFF2-40B4-BE49-F238E27FC236}">
                <a16:creationId xmlns:a16="http://schemas.microsoft.com/office/drawing/2014/main" id="{5925AA81-C570-AA45-8738-CE4CDEA85BD9}"/>
              </a:ext>
            </a:extLst>
          </p:cNvPr>
          <p:cNvSpPr txBox="1"/>
          <p:nvPr/>
        </p:nvSpPr>
        <p:spPr>
          <a:xfrm>
            <a:off x="261746" y="6603854"/>
            <a:ext cx="4762842" cy="230832"/>
          </a:xfrm>
          <a:prstGeom prst="rect">
            <a:avLst/>
          </a:prstGeom>
          <a:noFill/>
        </p:spPr>
        <p:txBody>
          <a:bodyPr wrap="none" rtlCol="0">
            <a:spAutoFit/>
          </a:bodyPr>
          <a:lstStyle/>
          <a:p>
            <a:r>
              <a:rPr lang="en-US" sz="900" spc="150">
                <a:solidFill>
                  <a:schemeClr val="tx1">
                    <a:lumMod val="50000"/>
                    <a:lumOff val="50000"/>
                  </a:schemeClr>
                </a:solidFill>
              </a:rPr>
              <a:t>*PRELIMINARY DATA – SUBJECT TO CHANGE WITHOUT NOTICE</a:t>
            </a:r>
          </a:p>
        </p:txBody>
      </p:sp>
      <p:graphicFrame>
        <p:nvGraphicFramePr>
          <p:cNvPr id="48" name="Content Placeholder 2">
            <a:extLst>
              <a:ext uri="{FF2B5EF4-FFF2-40B4-BE49-F238E27FC236}">
                <a16:creationId xmlns:a16="http://schemas.microsoft.com/office/drawing/2014/main" id="{091C2882-CC8C-6E47-85E4-A244406511C3}"/>
              </a:ext>
            </a:extLst>
          </p:cNvPr>
          <p:cNvGraphicFramePr>
            <a:graphicFrameLocks/>
          </p:cNvGraphicFramePr>
          <p:nvPr>
            <p:extLst>
              <p:ext uri="{D42A27DB-BD31-4B8C-83A1-F6EECF244321}">
                <p14:modId xmlns:p14="http://schemas.microsoft.com/office/powerpoint/2010/main" val="2930880792"/>
              </p:ext>
            </p:extLst>
          </p:nvPr>
        </p:nvGraphicFramePr>
        <p:xfrm>
          <a:off x="5158409" y="1968179"/>
          <a:ext cx="6838121" cy="4788602"/>
        </p:xfrm>
        <a:graphic>
          <a:graphicData uri="http://schemas.openxmlformats.org/drawingml/2006/table">
            <a:tbl>
              <a:tblPr firstRow="1" firstCol="1" bandCol="1">
                <a:tableStyleId>{073A0DAA-6AF3-43AB-8588-CEC1D06C72B9}</a:tableStyleId>
              </a:tblPr>
              <a:tblGrid>
                <a:gridCol w="399629">
                  <a:extLst>
                    <a:ext uri="{9D8B030D-6E8A-4147-A177-3AD203B41FA5}">
                      <a16:colId xmlns:a16="http://schemas.microsoft.com/office/drawing/2014/main" val="337650757"/>
                    </a:ext>
                  </a:extLst>
                </a:gridCol>
                <a:gridCol w="1720235">
                  <a:extLst>
                    <a:ext uri="{9D8B030D-6E8A-4147-A177-3AD203B41FA5}">
                      <a16:colId xmlns:a16="http://schemas.microsoft.com/office/drawing/2014/main" val="20000"/>
                    </a:ext>
                  </a:extLst>
                </a:gridCol>
                <a:gridCol w="1559165">
                  <a:extLst>
                    <a:ext uri="{9D8B030D-6E8A-4147-A177-3AD203B41FA5}">
                      <a16:colId xmlns:a16="http://schemas.microsoft.com/office/drawing/2014/main" val="3117661573"/>
                    </a:ext>
                  </a:extLst>
                </a:gridCol>
                <a:gridCol w="1559165">
                  <a:extLst>
                    <a:ext uri="{9D8B030D-6E8A-4147-A177-3AD203B41FA5}">
                      <a16:colId xmlns:a16="http://schemas.microsoft.com/office/drawing/2014/main" val="20001"/>
                    </a:ext>
                  </a:extLst>
                </a:gridCol>
                <a:gridCol w="1599927">
                  <a:extLst>
                    <a:ext uri="{9D8B030D-6E8A-4147-A177-3AD203B41FA5}">
                      <a16:colId xmlns:a16="http://schemas.microsoft.com/office/drawing/2014/main" val="1427260644"/>
                    </a:ext>
                  </a:extLst>
                </a:gridCol>
              </a:tblGrid>
              <a:tr h="314135">
                <a:tc gridSpan="2">
                  <a:txBody>
                    <a:bodyPr/>
                    <a:lstStyle/>
                    <a:p>
                      <a:pPr algn="l"/>
                      <a:r>
                        <a:rPr lang="en-US" sz="1200" b="1" dirty="0">
                          <a:solidFill>
                            <a:schemeClr val="bg1"/>
                          </a:solidFill>
                          <a:latin typeface="Arial" panose="020B0604020202020204" pitchFamily="34" charset="0"/>
                          <a:cs typeface="Arial" panose="020B0604020202020204" pitchFamily="34" charset="0"/>
                        </a:rPr>
                        <a:t>Product Comparison</a:t>
                      </a:r>
                    </a:p>
                  </a:txBody>
                  <a:tcPr marL="121920" marR="121920" marT="60960" marB="6096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accent1"/>
                        </a:gs>
                        <a:gs pos="100000">
                          <a:srgbClr val="8674FE"/>
                        </a:gs>
                      </a:gsLst>
                      <a:lin ang="0" scaled="1"/>
                    </a:gradFill>
                  </a:tcPr>
                </a:tc>
                <a:tc hMerge="1">
                  <a:txBody>
                    <a:bodyPr/>
                    <a:lstStyle/>
                    <a:p>
                      <a:pPr algn="l"/>
                      <a:r>
                        <a:rPr lang="en-US" sz="1600" b="1">
                          <a:solidFill>
                            <a:schemeClr val="bg1"/>
                          </a:solidFill>
                          <a:latin typeface="+mn-lt"/>
                          <a:cs typeface="Calibri" panose="020F0502020204030204" pitchFamily="34" charset="0"/>
                        </a:rPr>
                        <a:t>Product Comparison</a:t>
                      </a:r>
                    </a:p>
                  </a:txBody>
                  <a:tcPr marL="121920" marR="121920" marT="60960" marB="6096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marR="0" algn="ctr">
                        <a:spcBef>
                          <a:spcPts val="0"/>
                        </a:spcBef>
                        <a:spcAft>
                          <a:spcPts val="0"/>
                        </a:spcAft>
                      </a:pPr>
                      <a:r>
                        <a:rPr lang="en-US" sz="1200" b="1" dirty="0">
                          <a:effectLst/>
                          <a:latin typeface="Arial"/>
                          <a:ea typeface="Calibri" panose="020F0502020204030204" pitchFamily="34" charset="0"/>
                          <a:cs typeface="Arial"/>
                        </a:rPr>
                        <a:t>DC HC550</a:t>
                      </a:r>
                    </a:p>
                  </a:txBody>
                  <a:tcPr marL="83724" marR="83724" marT="41862" marB="41862"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gradFill>
                      <a:gsLst>
                        <a:gs pos="0">
                          <a:srgbClr val="8674FE"/>
                        </a:gs>
                        <a:gs pos="100000">
                          <a:srgbClr val="A653EA"/>
                        </a:gs>
                      </a:gsLst>
                      <a:lin ang="0" scaled="1"/>
                    </a:gradFill>
                  </a:tcPr>
                </a:tc>
                <a:tc>
                  <a:txBody>
                    <a:bodyPr/>
                    <a:lstStyle/>
                    <a:p>
                      <a:pPr marL="0" marR="0" algn="ctr">
                        <a:spcBef>
                          <a:spcPts val="0"/>
                        </a:spcBef>
                        <a:spcAft>
                          <a:spcPts val="0"/>
                        </a:spcAft>
                      </a:pPr>
                      <a:r>
                        <a:rPr lang="en-US" sz="1200" b="1" dirty="0">
                          <a:effectLst/>
                          <a:latin typeface="Arial" panose="020B0604020202020204" pitchFamily="34" charset="0"/>
                          <a:cs typeface="Arial" panose="020B0604020202020204" pitchFamily="34" charset="0"/>
                        </a:rPr>
                        <a:t>DC HC560</a:t>
                      </a:r>
                      <a:endParaRPr lang="en-US" sz="1200" b="1" dirty="0">
                        <a:effectLst/>
                        <a:latin typeface="Arial" panose="020B0604020202020204" pitchFamily="34" charset="0"/>
                        <a:ea typeface="Calibri" panose="020F0502020204030204" pitchFamily="34" charset="0"/>
                        <a:cs typeface="Arial" panose="020B0604020202020204" pitchFamily="34" charset="0"/>
                      </a:endParaRPr>
                    </a:p>
                  </a:txBody>
                  <a:tcPr marL="83724" marR="83724" marT="41862" marB="41862"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gradFill>
                      <a:gsLst>
                        <a:gs pos="0">
                          <a:srgbClr val="8674FE"/>
                        </a:gs>
                        <a:gs pos="100000">
                          <a:srgbClr val="A653EA"/>
                        </a:gs>
                      </a:gsLst>
                      <a:lin ang="0" scaled="1"/>
                    </a:gradFill>
                  </a:tcPr>
                </a:tc>
                <a:tc>
                  <a:txBody>
                    <a:bodyPr/>
                    <a:lstStyle/>
                    <a:p>
                      <a:pPr marL="0" marR="0" algn="ctr">
                        <a:spcBef>
                          <a:spcPts val="0"/>
                        </a:spcBef>
                        <a:spcAft>
                          <a:spcPts val="0"/>
                        </a:spcAft>
                      </a:pPr>
                      <a:r>
                        <a:rPr lang="en-US" sz="1200" b="1" dirty="0">
                          <a:effectLst/>
                          <a:latin typeface="Arial" panose="020B0604020202020204" pitchFamily="34" charset="0"/>
                          <a:ea typeface="Calibri" panose="020F0502020204030204" pitchFamily="34" charset="0"/>
                          <a:cs typeface="Arial" panose="020B0604020202020204" pitchFamily="34" charset="0"/>
                        </a:rPr>
                        <a:t>DC HC570*</a:t>
                      </a:r>
                    </a:p>
                  </a:txBody>
                  <a:tcPr marL="83724" marR="83724" marT="41862" marB="41862"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gradFill>
                      <a:gsLst>
                        <a:gs pos="0">
                          <a:srgbClr val="A653EA"/>
                        </a:gs>
                        <a:gs pos="100000">
                          <a:srgbClr val="D135A0"/>
                        </a:gs>
                      </a:gsLst>
                      <a:lin ang="0" scaled="1"/>
                    </a:gradFill>
                  </a:tcPr>
                </a:tc>
                <a:extLst>
                  <a:ext uri="{0D108BD9-81ED-4DB2-BD59-A6C34878D82A}">
                    <a16:rowId xmlns:a16="http://schemas.microsoft.com/office/drawing/2014/main" val="10000"/>
                  </a:ext>
                </a:extLst>
              </a:tr>
              <a:tr h="369942">
                <a:tc gridSpan="2">
                  <a:txBody>
                    <a:bodyPr/>
                    <a:lstStyle/>
                    <a:p>
                      <a:r>
                        <a:rPr lang="en-US" sz="1200" b="1">
                          <a:solidFill>
                            <a:schemeClr val="tx1"/>
                          </a:solidFill>
                          <a:latin typeface="Arial" panose="020B0604020202020204" pitchFamily="34" charset="0"/>
                          <a:cs typeface="Arial" panose="020B0604020202020204" pitchFamily="34" charset="0"/>
                        </a:rPr>
                        <a:t>Interface</a:t>
                      </a:r>
                    </a:p>
                  </a:txBody>
                  <a:tcPr marL="121920" marR="121920" marT="60960" marB="6096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r>
                        <a:rPr lang="en-US" sz="1600" b="0">
                          <a:solidFill>
                            <a:schemeClr val="tx1"/>
                          </a:solidFill>
                          <a:latin typeface="+mn-lt"/>
                          <a:cs typeface="Calibri" panose="020F0502020204030204" pitchFamily="34" charset="0"/>
                        </a:rPr>
                        <a:t>Interface</a:t>
                      </a:r>
                    </a:p>
                  </a:txBody>
                  <a:tcPr marL="121920" marR="121920" marT="60960" marB="6096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100" dirty="0">
                          <a:effectLst/>
                          <a:latin typeface="Arial"/>
                          <a:cs typeface="Arial"/>
                        </a:rPr>
                        <a:t>SAS 12G / SATA 6G</a:t>
                      </a:r>
                      <a:endParaRPr lang="en-US" sz="1100" dirty="0">
                        <a:effectLst/>
                        <a:latin typeface="Arial"/>
                        <a:ea typeface="Calibri" panose="020F0502020204030204" pitchFamily="34" charset="0"/>
                        <a:cs typeface="Arial"/>
                      </a:endParaRPr>
                    </a:p>
                  </a:txBody>
                  <a:tcPr marL="83724" marR="83724" marT="41862" marB="41862"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100" dirty="0">
                          <a:effectLst/>
                          <a:latin typeface="Arial" panose="020B0604020202020204" pitchFamily="34" charset="0"/>
                          <a:cs typeface="Arial" panose="020B0604020202020204" pitchFamily="34" charset="0"/>
                        </a:rPr>
                        <a:t>SAS 12G  / SATA 6G</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83724" marR="83724" marT="41862" marB="41862"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100">
                          <a:effectLst/>
                          <a:latin typeface="Arial" panose="020B0604020202020204" pitchFamily="34" charset="0"/>
                          <a:cs typeface="Arial" panose="020B0604020202020204" pitchFamily="34" charset="0"/>
                        </a:rPr>
                        <a:t>SAS 12G  / SATA 6G</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83724" marR="83724" marT="41862" marB="41862"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369942">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a:solidFill>
                            <a:schemeClr val="tx1"/>
                          </a:solidFill>
                          <a:latin typeface="Arial" panose="020B0604020202020204" pitchFamily="34" charset="0"/>
                          <a:cs typeface="Arial" panose="020B0604020202020204" pitchFamily="34" charset="0"/>
                        </a:rPr>
                        <a:t>Capacity</a:t>
                      </a:r>
                    </a:p>
                  </a:txBody>
                  <a:tcPr marL="121920" marR="121920" marT="60960" marB="6096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0">
                          <a:solidFill>
                            <a:schemeClr val="tx1"/>
                          </a:solidFill>
                          <a:latin typeface="+mn-lt"/>
                          <a:cs typeface="Calibri" panose="020F0502020204030204" pitchFamily="34" charset="0"/>
                        </a:rPr>
                        <a:t>Capacity</a:t>
                      </a:r>
                    </a:p>
                  </a:txBody>
                  <a:tcPr marL="121920" marR="121920" marT="60960" marB="6096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spcBef>
                          <a:spcPts val="0"/>
                        </a:spcBef>
                        <a:spcAft>
                          <a:spcPts val="0"/>
                        </a:spcAft>
                      </a:pPr>
                      <a:r>
                        <a:rPr lang="en-US" sz="1100" dirty="0">
                          <a:effectLst/>
                          <a:latin typeface="Arial"/>
                          <a:ea typeface="Calibri" panose="020F0502020204030204" pitchFamily="34" charset="0"/>
                          <a:cs typeface="Arial"/>
                        </a:rPr>
                        <a:t>16TB &amp;18TB CMR</a:t>
                      </a:r>
                    </a:p>
                  </a:txBody>
                  <a:tcPr marL="83724" marR="83724" marT="41862" marB="41862"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spcBef>
                          <a:spcPts val="0"/>
                        </a:spcBef>
                        <a:spcAft>
                          <a:spcPts val="0"/>
                        </a:spcAft>
                      </a:pPr>
                      <a:r>
                        <a:rPr lang="en-US" sz="1100" dirty="0">
                          <a:effectLst/>
                          <a:latin typeface="Arial" panose="020B0604020202020204" pitchFamily="34" charset="0"/>
                          <a:ea typeface="Calibri" panose="020F0502020204030204" pitchFamily="34" charset="0"/>
                          <a:cs typeface="Arial" panose="020B0604020202020204" pitchFamily="34" charset="0"/>
                        </a:rPr>
                        <a:t>20TB CMR</a:t>
                      </a:r>
                    </a:p>
                  </a:txBody>
                  <a:tcPr marL="83724" marR="83724" marT="41862" marB="41862"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rgbClr val="00B050"/>
                          </a:solidFill>
                          <a:effectLst/>
                          <a:latin typeface="Arial" panose="020B0604020202020204" pitchFamily="34" charset="0"/>
                          <a:ea typeface="Calibri" panose="020F0502020204030204" pitchFamily="34" charset="0"/>
                          <a:cs typeface="Arial" panose="020B0604020202020204" pitchFamily="34" charset="0"/>
                        </a:rPr>
                        <a:t>22TB CMR</a:t>
                      </a:r>
                      <a:br>
                        <a:rPr lang="en-US" sz="1100" b="1" dirty="0">
                          <a:solidFill>
                            <a:srgbClr val="00B050"/>
                          </a:solidFill>
                          <a:effectLst/>
                          <a:latin typeface="Arial" panose="020B0604020202020204" pitchFamily="34" charset="0"/>
                          <a:ea typeface="Calibri" panose="020F0502020204030204" pitchFamily="34" charset="0"/>
                          <a:cs typeface="Arial" panose="020B0604020202020204" pitchFamily="34" charset="0"/>
                        </a:rPr>
                      </a:br>
                      <a:r>
                        <a:rPr lang="en-US" sz="1100" b="1" dirty="0">
                          <a:solidFill>
                            <a:srgbClr val="00B050"/>
                          </a:solidFill>
                          <a:effectLst/>
                          <a:latin typeface="Arial" panose="020B0604020202020204" pitchFamily="34" charset="0"/>
                          <a:ea typeface="Calibri" panose="020F0502020204030204" pitchFamily="34" charset="0"/>
                          <a:cs typeface="Arial" panose="020B0604020202020204" pitchFamily="34" charset="0"/>
                        </a:rPr>
                        <a:t>26TB SMR</a:t>
                      </a:r>
                    </a:p>
                  </a:txBody>
                  <a:tcPr marL="83724" marR="83724" marT="41862" marB="41862"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369942">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a:solidFill>
                            <a:schemeClr val="tx1"/>
                          </a:solidFill>
                          <a:latin typeface="Arial" panose="020B0604020202020204" pitchFamily="34" charset="0"/>
                          <a:cs typeface="Arial" panose="020B0604020202020204" pitchFamily="34" charset="0"/>
                        </a:rPr>
                        <a:t>Disks</a:t>
                      </a:r>
                    </a:p>
                  </a:txBody>
                  <a:tcPr marL="121920" marR="121920" marT="60960" marB="6096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0">
                          <a:solidFill>
                            <a:schemeClr val="tx1"/>
                          </a:solidFill>
                          <a:latin typeface="+mn-lt"/>
                          <a:cs typeface="Calibri" panose="020F0502020204030204" pitchFamily="34" charset="0"/>
                        </a:rPr>
                        <a:t>Disks</a:t>
                      </a:r>
                    </a:p>
                  </a:txBody>
                  <a:tcPr marL="121920" marR="121920" marT="60960" marB="6096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100">
                          <a:effectLst/>
                          <a:latin typeface="Arial"/>
                          <a:ea typeface="Calibri" panose="020F0502020204030204" pitchFamily="34" charset="0"/>
                          <a:cs typeface="Arial"/>
                        </a:rPr>
                        <a:t>9</a:t>
                      </a:r>
                    </a:p>
                  </a:txBody>
                  <a:tcPr marL="83724" marR="83724" marT="41862" marB="41862"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100" dirty="0">
                          <a:effectLst/>
                          <a:latin typeface="Arial" panose="020B0604020202020204" pitchFamily="34" charset="0"/>
                          <a:cs typeface="Arial" panose="020B0604020202020204" pitchFamily="34" charset="0"/>
                          <a:sym typeface="Wingdings" pitchFamily="2" charset="2"/>
                        </a:rPr>
                        <a:t>9</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83724" marR="83724" marT="41862" marB="41862"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rgbClr val="00B050"/>
                          </a:solidFill>
                          <a:effectLst/>
                          <a:latin typeface="Arial" panose="020B0604020202020204" pitchFamily="34" charset="0"/>
                          <a:ea typeface="Calibri" panose="020F0502020204030204" pitchFamily="34" charset="0"/>
                          <a:cs typeface="Arial" panose="020B0604020202020204" pitchFamily="34" charset="0"/>
                        </a:rPr>
                        <a:t>10</a:t>
                      </a:r>
                    </a:p>
                  </a:txBody>
                  <a:tcPr marL="83724" marR="83724" marT="41862" marB="41862"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369942">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tx1"/>
                          </a:solidFill>
                          <a:latin typeface="Arial" panose="020B0604020202020204" pitchFamily="34" charset="0"/>
                          <a:cs typeface="Arial" panose="020B0604020202020204" pitchFamily="34" charset="0"/>
                        </a:rPr>
                        <a:t>Power </a:t>
                      </a:r>
                      <a:r>
                        <a:rPr lang="en-US" sz="1200" b="0" dirty="0">
                          <a:solidFill>
                            <a:schemeClr val="tx1"/>
                          </a:solidFill>
                          <a:latin typeface="Arial" panose="020B0604020202020204" pitchFamily="34" charset="0"/>
                          <a:cs typeface="Arial" panose="020B0604020202020204" pitchFamily="34" charset="0"/>
                        </a:rPr>
                        <a:t>(</a:t>
                      </a:r>
                      <a:r>
                        <a:rPr lang="en-US" sz="1200" b="0" dirty="0" err="1">
                          <a:solidFill>
                            <a:schemeClr val="tx1"/>
                          </a:solidFill>
                          <a:latin typeface="Arial" panose="020B0604020202020204" pitchFamily="34" charset="0"/>
                          <a:cs typeface="Arial" panose="020B0604020202020204" pitchFamily="34" charset="0"/>
                        </a:rPr>
                        <a:t>Rnd</a:t>
                      </a:r>
                      <a:r>
                        <a:rPr lang="en-US" sz="1200" b="0" dirty="0">
                          <a:solidFill>
                            <a:schemeClr val="tx1"/>
                          </a:solidFill>
                          <a:latin typeface="Arial" panose="020B0604020202020204" pitchFamily="34" charset="0"/>
                          <a:cs typeface="Arial" panose="020B0604020202020204" pitchFamily="34" charset="0"/>
                        </a:rPr>
                        <a:t> R 4KB QD8)</a:t>
                      </a:r>
                    </a:p>
                  </a:txBody>
                  <a:tcPr marL="121920" marR="121920" marT="60960" marB="6096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0">
                          <a:solidFill>
                            <a:schemeClr val="tx1"/>
                          </a:solidFill>
                          <a:latin typeface="+mn-lt"/>
                          <a:cs typeface="Calibri" panose="020F0502020204030204" pitchFamily="34" charset="0"/>
                        </a:rPr>
                        <a:t>Power</a:t>
                      </a:r>
                    </a:p>
                  </a:txBody>
                  <a:tcPr marL="121920" marR="121920" marT="60960" marB="6096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spcBef>
                          <a:spcPts val="0"/>
                        </a:spcBef>
                        <a:spcAft>
                          <a:spcPts val="0"/>
                        </a:spcAft>
                      </a:pPr>
                      <a:r>
                        <a:rPr lang="en-US" sz="1100" b="1" dirty="0">
                          <a:solidFill>
                            <a:srgbClr val="00B050"/>
                          </a:solidFill>
                          <a:effectLst/>
                          <a:latin typeface="Arial"/>
                          <a:ea typeface="Calibri" panose="020F0502020204030204" pitchFamily="34" charset="0"/>
                          <a:cs typeface="Arial"/>
                        </a:rPr>
                        <a:t>9.5W</a:t>
                      </a:r>
                      <a:r>
                        <a:rPr lang="en-US" sz="1100" b="1" baseline="0" dirty="0">
                          <a:solidFill>
                            <a:srgbClr val="00B050"/>
                          </a:solidFill>
                          <a:effectLst/>
                          <a:latin typeface="Arial"/>
                          <a:ea typeface="Calibri" panose="020F0502020204030204" pitchFamily="34" charset="0"/>
                          <a:cs typeface="Arial"/>
                        </a:rPr>
                        <a:t> / 9.2W</a:t>
                      </a:r>
                      <a:endParaRPr lang="en-US" sz="1100" b="1" dirty="0">
                        <a:solidFill>
                          <a:srgbClr val="00B050"/>
                        </a:solidFill>
                        <a:effectLst/>
                        <a:latin typeface="Arial"/>
                        <a:ea typeface="Calibri" panose="020F0502020204030204" pitchFamily="34" charset="0"/>
                        <a:cs typeface="Arial"/>
                      </a:endParaRPr>
                    </a:p>
                  </a:txBody>
                  <a:tcPr marL="83724" marR="83724" marT="41862" marB="41862"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spcBef>
                          <a:spcPts val="0"/>
                        </a:spcBef>
                        <a:spcAft>
                          <a:spcPts val="0"/>
                        </a:spcAft>
                      </a:pPr>
                      <a:r>
                        <a:rPr lang="en-US" sz="1100" b="0" dirty="0">
                          <a:solidFill>
                            <a:schemeClr val="tx1"/>
                          </a:solidFill>
                          <a:effectLst/>
                          <a:latin typeface="Arial" panose="020B0604020202020204" pitchFamily="34" charset="0"/>
                          <a:ea typeface="Calibri" panose="020F0502020204030204" pitchFamily="34" charset="0"/>
                          <a:cs typeface="Arial" panose="020B0604020202020204" pitchFamily="34" charset="0"/>
                        </a:rPr>
                        <a:t>9.6W / 9.5W</a:t>
                      </a:r>
                    </a:p>
                  </a:txBody>
                  <a:tcPr marL="83724" marR="83724" marT="41862" marB="41862"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u="none" strike="noStrike" dirty="0">
                          <a:solidFill>
                            <a:schemeClr val="tx1"/>
                          </a:solidFill>
                          <a:effectLst/>
                          <a:latin typeface="Arial" panose="020B0604020202020204" pitchFamily="34" charset="0"/>
                          <a:cs typeface="Arial" panose="020B0604020202020204" pitchFamily="34" charset="0"/>
                        </a:rPr>
                        <a:t>10W / 9.8W </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83724" marR="83724" marT="41862" marB="41862"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369942">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b="1" dirty="0">
                          <a:solidFill>
                            <a:schemeClr val="tx1"/>
                          </a:solidFill>
                          <a:latin typeface="Arial" panose="020B0604020202020204" pitchFamily="34" charset="0"/>
                          <a:cs typeface="Arial" panose="020B0604020202020204" pitchFamily="34" charset="0"/>
                        </a:rPr>
                        <a:t>Cache Technology</a:t>
                      </a:r>
                      <a:endParaRPr lang="en-US" sz="1200" b="1" dirty="0">
                        <a:solidFill>
                          <a:schemeClr val="tx1"/>
                        </a:solidFill>
                        <a:latin typeface="Arial" panose="020B0604020202020204" pitchFamily="34" charset="0"/>
                        <a:cs typeface="Arial" panose="020B0604020202020204" pitchFamily="34" charset="0"/>
                      </a:endParaRPr>
                    </a:p>
                  </a:txBody>
                  <a:tcPr marL="121920" marR="121920" marT="60960" marB="6096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tc>
                  <a:txBody>
                    <a:bodyPr/>
                    <a:lstStyle/>
                    <a:p>
                      <a:pPr marL="0" marR="0" algn="ctr">
                        <a:spcBef>
                          <a:spcPts val="0"/>
                        </a:spcBef>
                        <a:spcAft>
                          <a:spcPts val="0"/>
                        </a:spcAft>
                      </a:pPr>
                      <a:r>
                        <a:rPr lang="de-DE" sz="1100" b="0" dirty="0">
                          <a:solidFill>
                            <a:schemeClr val="tx1"/>
                          </a:solidFill>
                          <a:effectLst/>
                          <a:latin typeface="Arial"/>
                          <a:ea typeface="Calibri" panose="020F0502020204030204" pitchFamily="34" charset="0"/>
                          <a:cs typeface="Arial"/>
                        </a:rPr>
                        <a:t>DRAM, Media Cache</a:t>
                      </a:r>
                      <a:endParaRPr lang="en-US" sz="1100" b="0" dirty="0">
                        <a:solidFill>
                          <a:schemeClr val="tx1"/>
                        </a:solidFill>
                        <a:effectLst/>
                        <a:latin typeface="Arial"/>
                        <a:ea typeface="Calibri" panose="020F0502020204030204" pitchFamily="34" charset="0"/>
                        <a:cs typeface="Arial"/>
                      </a:endParaRPr>
                    </a:p>
                  </a:txBody>
                  <a:tcPr marL="83724" marR="83724" marT="41862" marB="41862"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100" b="0" dirty="0">
                          <a:solidFill>
                            <a:schemeClr val="tx1"/>
                          </a:solidFill>
                          <a:effectLst/>
                          <a:latin typeface="+mn-lt"/>
                          <a:ea typeface="Calibri" panose="020F0502020204030204" pitchFamily="34" charset="0"/>
                          <a:cs typeface="Arial"/>
                        </a:rPr>
                        <a:t>DRAM, Media Cache</a:t>
                      </a:r>
                      <a:endParaRPr lang="en-US" sz="1100" b="0" dirty="0">
                        <a:solidFill>
                          <a:schemeClr val="tx1"/>
                        </a:solidFill>
                        <a:effectLst/>
                        <a:latin typeface="+mn-lt"/>
                        <a:ea typeface="Calibri" panose="020F0502020204030204" pitchFamily="34" charset="0"/>
                        <a:cs typeface="Arial"/>
                      </a:endParaRPr>
                    </a:p>
                    <a:p>
                      <a:pPr marL="0" marR="0" algn="ctr">
                        <a:spcBef>
                          <a:spcPts val="0"/>
                        </a:spcBef>
                        <a:spcAft>
                          <a:spcPts val="0"/>
                        </a:spcAft>
                      </a:pPr>
                      <a:r>
                        <a:rPr lang="en-US" sz="1100" b="1" dirty="0" err="1">
                          <a:solidFill>
                            <a:srgbClr val="00B050"/>
                          </a:solidFill>
                          <a:effectLst/>
                          <a:latin typeface="Arial" panose="020B0604020202020204" pitchFamily="34" charset="0"/>
                          <a:ea typeface="Calibri" panose="020F0502020204030204" pitchFamily="34" charset="0"/>
                          <a:cs typeface="Arial" panose="020B0604020202020204" pitchFamily="34" charset="0"/>
                        </a:rPr>
                        <a:t>OptiNAND</a:t>
                      </a:r>
                      <a:endParaRPr lang="en-US" sz="1100" b="1" dirty="0">
                        <a:solidFill>
                          <a:srgbClr val="00B050"/>
                        </a:solidFill>
                        <a:effectLst/>
                        <a:latin typeface="Arial" panose="020B0604020202020204" pitchFamily="34" charset="0"/>
                        <a:ea typeface="Calibri" panose="020F0502020204030204" pitchFamily="34" charset="0"/>
                        <a:cs typeface="Arial" panose="020B0604020202020204" pitchFamily="34" charset="0"/>
                      </a:endParaRPr>
                    </a:p>
                  </a:txBody>
                  <a:tcPr marL="83724" marR="83724" marT="41862" marB="41862"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100" b="0" dirty="0">
                          <a:solidFill>
                            <a:schemeClr val="tx1"/>
                          </a:solidFill>
                          <a:effectLst/>
                          <a:latin typeface="+mn-lt"/>
                          <a:ea typeface="Calibri" panose="020F0502020204030204" pitchFamily="34" charset="0"/>
                          <a:cs typeface="Arial"/>
                        </a:rPr>
                        <a:t>DRAM, Media Cache</a:t>
                      </a:r>
                      <a:endParaRPr lang="en-US" sz="1100" b="0" dirty="0">
                        <a:solidFill>
                          <a:schemeClr val="tx1"/>
                        </a:solidFill>
                        <a:effectLst/>
                        <a:latin typeface="+mn-lt"/>
                        <a:ea typeface="Calibri" panose="020F0502020204030204" pitchFamily="34" charset="0"/>
                        <a:cs typeface="Arial"/>
                      </a:endParaRPr>
                    </a:p>
                    <a:p>
                      <a:pPr marL="0" marR="0" algn="ctr">
                        <a:spcBef>
                          <a:spcPts val="0"/>
                        </a:spcBef>
                        <a:spcAft>
                          <a:spcPts val="0"/>
                        </a:spcAft>
                      </a:pPr>
                      <a:r>
                        <a:rPr lang="en-US" sz="1100" b="1" dirty="0" err="1">
                          <a:solidFill>
                            <a:srgbClr val="00B050"/>
                          </a:solidFill>
                          <a:effectLst/>
                          <a:latin typeface="Arial" panose="020B0604020202020204" pitchFamily="34" charset="0"/>
                          <a:ea typeface="Calibri" panose="020F0502020204030204" pitchFamily="34" charset="0"/>
                          <a:cs typeface="Arial" panose="020B0604020202020204" pitchFamily="34" charset="0"/>
                        </a:rPr>
                        <a:t>ArmorCache</a:t>
                      </a:r>
                      <a:endParaRPr lang="en-US" sz="1100" b="1" dirty="0">
                        <a:solidFill>
                          <a:srgbClr val="00B050"/>
                        </a:solidFill>
                        <a:effectLst/>
                        <a:latin typeface="Arial" panose="020B0604020202020204" pitchFamily="34" charset="0"/>
                        <a:ea typeface="Calibri" panose="020F0502020204030204" pitchFamily="34" charset="0"/>
                        <a:cs typeface="Arial" panose="020B0604020202020204" pitchFamily="34" charset="0"/>
                      </a:endParaRPr>
                    </a:p>
                  </a:txBody>
                  <a:tcPr marL="83724" marR="83724" marT="41862" marB="41862"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03441864"/>
                  </a:ext>
                </a:extLst>
              </a:tr>
              <a:tr h="387249">
                <a:tc rowSpan="3">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1" spc="0" baseline="0">
                          <a:solidFill>
                            <a:schemeClr val="tx1"/>
                          </a:solidFill>
                          <a:latin typeface="+mn-lt"/>
                          <a:cs typeface="Calibri" panose="020F0502020204030204" pitchFamily="34" charset="0"/>
                        </a:rPr>
                        <a:t>PERFORMANCE</a:t>
                      </a:r>
                    </a:p>
                  </a:txBody>
                  <a:tcPr marL="121920" marR="121920" marT="60960" marB="60960" vert="vert270" anchor="ctr">
                    <a:lnL w="12700" cmpd="sng">
                      <a:noFill/>
                    </a:lnL>
                    <a:lnR w="12700" cmpd="sng">
                      <a:noFill/>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dirty="0">
                          <a:solidFill>
                            <a:schemeClr val="tx1"/>
                          </a:solidFill>
                          <a:latin typeface="Arial" panose="020B0604020202020204" pitchFamily="34" charset="0"/>
                          <a:cs typeface="Arial" panose="020B0604020202020204" pitchFamily="34" charset="0"/>
                        </a:rPr>
                        <a:t>Sequential (max)</a:t>
                      </a:r>
                    </a:p>
                  </a:txBody>
                  <a:tcPr marL="121920" marR="121920" marT="60960" marB="6096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100" dirty="0">
                          <a:effectLst/>
                          <a:latin typeface="Arial"/>
                          <a:cs typeface="Arial"/>
                        </a:rPr>
                        <a:t>257 MiB/s</a:t>
                      </a:r>
                      <a:endParaRPr lang="en-US" sz="1100" dirty="0">
                        <a:effectLst/>
                        <a:latin typeface="Arial"/>
                        <a:ea typeface="Calibri" panose="020F0502020204030204" pitchFamily="34" charset="0"/>
                        <a:cs typeface="Arial"/>
                      </a:endParaRPr>
                    </a:p>
                  </a:txBody>
                  <a:tcPr marL="83724" marR="83724" marT="41862" marB="41862"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100" b="1" dirty="0">
                          <a:solidFill>
                            <a:srgbClr val="00B050"/>
                          </a:solidFill>
                          <a:effectLst/>
                          <a:latin typeface="Arial" panose="020B0604020202020204" pitchFamily="34" charset="0"/>
                          <a:cs typeface="Arial" panose="020B0604020202020204" pitchFamily="34" charset="0"/>
                        </a:rPr>
                        <a:t>278 MiB/s </a:t>
                      </a:r>
                    </a:p>
                  </a:txBody>
                  <a:tcPr marL="83724" marR="83724" marT="41862" marB="41862"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100" b="1" dirty="0">
                          <a:solidFill>
                            <a:srgbClr val="00B050"/>
                          </a:solidFill>
                          <a:effectLst/>
                          <a:latin typeface="Arial" panose="020B0604020202020204" pitchFamily="34" charset="0"/>
                          <a:cs typeface="Arial" panose="020B0604020202020204" pitchFamily="34" charset="0"/>
                        </a:rPr>
                        <a:t>278 MiB/s (CMR)</a:t>
                      </a:r>
                    </a:p>
                    <a:p>
                      <a:pPr marL="0" marR="0" algn="ctr">
                        <a:spcBef>
                          <a:spcPts val="0"/>
                        </a:spcBef>
                        <a:spcAft>
                          <a:spcPts val="0"/>
                        </a:spcAft>
                      </a:pPr>
                      <a:r>
                        <a:rPr lang="en-US" sz="1100" dirty="0">
                          <a:solidFill>
                            <a:schemeClr val="tx1"/>
                          </a:solidFill>
                          <a:effectLst/>
                          <a:latin typeface="Arial" panose="020B0604020202020204" pitchFamily="34" charset="0"/>
                          <a:cs typeface="Arial" panose="020B0604020202020204" pitchFamily="34" charset="0"/>
                        </a:rPr>
                        <a:t>238 MiB/s (SMR)</a:t>
                      </a:r>
                      <a:endParaRPr lang="en-US" sz="11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83724" marR="83724" marT="41862" marB="41862"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502616">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600" b="0">
                        <a:solidFill>
                          <a:schemeClr val="tx1"/>
                        </a:solidFill>
                        <a:latin typeface="+mn-lt"/>
                        <a:cs typeface="Calibri" panose="020F0502020204030204" pitchFamily="34" charset="0"/>
                      </a:endParaRPr>
                    </a:p>
                  </a:txBody>
                  <a:tcPr marL="121920" marR="121920" marT="60960" marB="60960" anchor="ctr">
                    <a:lnL w="12700" cmpd="sng">
                      <a:noFill/>
                    </a:lnL>
                    <a:lnR w="12700" cmpd="sng">
                      <a:noFill/>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rtl="0" fontAlgn="ctr"/>
                      <a:r>
                        <a:rPr lang="pt-BR" sz="12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Random Read 1MiB </a:t>
                      </a:r>
                    </a:p>
                    <a:p>
                      <a:pPr algn="l" rtl="0" fontAlgn="ctr"/>
                      <a:r>
                        <a:rPr lang="pt-BR" sz="12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WCD QD1 / 32)</a:t>
                      </a:r>
                    </a:p>
                  </a:txBody>
                  <a:tcPr marL="121920" marR="121920" marT="60960" marB="60960" anchor="ctr">
                    <a:lnL w="12700" cmpd="sng">
                      <a:noFill/>
                    </a:lnL>
                    <a:lnR w="12700" cmpd="sng">
                      <a:noFill/>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spcBef>
                          <a:spcPts val="0"/>
                        </a:spcBef>
                        <a:spcAft>
                          <a:spcPts val="0"/>
                        </a:spcAft>
                      </a:pPr>
                      <a:r>
                        <a:rPr lang="en-US" sz="1100" dirty="0">
                          <a:effectLst/>
                          <a:latin typeface="Arial"/>
                          <a:cs typeface="Arial"/>
                        </a:rPr>
                        <a:t>87 / 210 IOPs</a:t>
                      </a:r>
                      <a:endParaRPr lang="en-US" sz="1100" dirty="0">
                        <a:effectLst/>
                        <a:latin typeface="Arial"/>
                        <a:ea typeface="Calibri" panose="020F0502020204030204" pitchFamily="34" charset="0"/>
                        <a:cs typeface="Arial"/>
                      </a:endParaRPr>
                    </a:p>
                  </a:txBody>
                  <a:tcPr marL="83724" marR="83724" marT="41862" marB="41862" anchor="ctr">
                    <a:lnL w="12700" cmpd="sng">
                      <a:noFill/>
                    </a:lnL>
                    <a:lnR w="12700" cmpd="sng">
                      <a:noFill/>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spcBef>
                          <a:spcPts val="0"/>
                        </a:spcBef>
                        <a:spcAft>
                          <a:spcPts val="0"/>
                        </a:spcAft>
                      </a:pPr>
                      <a:r>
                        <a:rPr lang="en-US" sz="1100" b="1" dirty="0">
                          <a:solidFill>
                            <a:srgbClr val="00B050"/>
                          </a:solidFill>
                          <a:effectLst/>
                          <a:latin typeface="Arial" panose="020B0604020202020204" pitchFamily="34" charset="0"/>
                          <a:cs typeface="Arial" panose="020B0604020202020204" pitchFamily="34" charset="0"/>
                        </a:rPr>
                        <a:t>88 / 212 IOPs</a:t>
                      </a:r>
                    </a:p>
                  </a:txBody>
                  <a:tcPr marL="83724" marR="83724" marT="41862" marB="41862" anchor="ctr">
                    <a:lnL w="12700" cmpd="sng">
                      <a:noFill/>
                    </a:lnL>
                    <a:lnR w="12700" cmpd="sng">
                      <a:noFill/>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rgbClr val="00B050"/>
                          </a:solidFill>
                          <a:effectLst/>
                          <a:latin typeface="Arial" panose="020B0604020202020204" pitchFamily="34" charset="0"/>
                          <a:ea typeface="Calibri" panose="020F0502020204030204" pitchFamily="34" charset="0"/>
                          <a:cs typeface="Arial" panose="020B0604020202020204" pitchFamily="34" charset="0"/>
                          <a:sym typeface="Wingdings" pitchFamily="2" charset="2"/>
                        </a:rPr>
                        <a:t> </a:t>
                      </a:r>
                      <a:r>
                        <a:rPr lang="en-US" sz="1100" b="1" dirty="0">
                          <a:solidFill>
                            <a:srgbClr val="00B050"/>
                          </a:solidFill>
                          <a:effectLst/>
                          <a:latin typeface="Arial" panose="020B0604020202020204" pitchFamily="34" charset="0"/>
                          <a:ea typeface="Calibri" panose="020F0502020204030204" pitchFamily="34" charset="0"/>
                          <a:cs typeface="Arial" panose="020B0604020202020204" pitchFamily="34" charset="0"/>
                        </a:rPr>
                        <a:t>(CMR)</a:t>
                      </a:r>
                    </a:p>
                    <a:p>
                      <a:pPr marL="0" marR="0" algn="ctr">
                        <a:spcBef>
                          <a:spcPts val="0"/>
                        </a:spcBef>
                        <a:spcAft>
                          <a:spcPts val="0"/>
                        </a:spcAft>
                      </a:pPr>
                      <a:r>
                        <a:rPr lang="en-US" sz="1100" dirty="0">
                          <a:solidFill>
                            <a:schemeClr val="tx1"/>
                          </a:solidFill>
                          <a:effectLst/>
                          <a:latin typeface="Arial" panose="020B0604020202020204" pitchFamily="34" charset="0"/>
                          <a:ea typeface="Calibri" panose="020F0502020204030204" pitchFamily="34" charset="0"/>
                          <a:cs typeface="Arial" panose="020B0604020202020204" pitchFamily="34" charset="0"/>
                        </a:rPr>
                        <a:t>84 / 198 IOPs (SMR) </a:t>
                      </a:r>
                    </a:p>
                  </a:txBody>
                  <a:tcPr marL="83724" marR="83724" marT="41862" marB="41862" anchor="ctr">
                    <a:lnL w="12700" cmpd="sng">
                      <a:noFill/>
                    </a:lnL>
                    <a:lnR w="12700" cmpd="sng">
                      <a:noFill/>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6"/>
                  </a:ext>
                </a:extLst>
              </a:tr>
              <a:tr h="502616">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600" b="0">
                        <a:solidFill>
                          <a:schemeClr val="tx1"/>
                        </a:solidFill>
                        <a:latin typeface="+mn-lt"/>
                        <a:cs typeface="Calibri" panose="020F0502020204030204" pitchFamily="34" charset="0"/>
                      </a:endParaRPr>
                    </a:p>
                  </a:txBody>
                  <a:tcPr marL="121920" marR="121920" marT="60960" marB="60960" anchor="ctr">
                    <a:lnL w="12700" cmpd="sng">
                      <a:noFill/>
                    </a:lnL>
                    <a:lnR w="12700" cmpd="sng">
                      <a:noFill/>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a:solidFill>
                            <a:schemeClr val="tx1"/>
                          </a:solidFill>
                          <a:latin typeface="Arial" panose="020B0604020202020204" pitchFamily="34" charset="0"/>
                          <a:cs typeface="Arial" panose="020B0604020202020204" pitchFamily="34" charset="0"/>
                        </a:rPr>
                        <a:t>Random Write 4K </a:t>
                      </a:r>
                      <a:br>
                        <a:rPr lang="en-US" sz="1200" b="0">
                          <a:solidFill>
                            <a:schemeClr val="tx1"/>
                          </a:solidFill>
                          <a:latin typeface="Arial" panose="020B0604020202020204" pitchFamily="34" charset="0"/>
                          <a:cs typeface="Arial" panose="020B0604020202020204" pitchFamily="34" charset="0"/>
                        </a:rPr>
                      </a:br>
                      <a:r>
                        <a:rPr lang="en-US" sz="1200" b="0">
                          <a:solidFill>
                            <a:schemeClr val="tx1"/>
                          </a:solidFill>
                          <a:latin typeface="Arial" panose="020B0604020202020204" pitchFamily="34" charset="0"/>
                          <a:cs typeface="Arial" panose="020B0604020202020204" pitchFamily="34" charset="0"/>
                        </a:rPr>
                        <a:t>(WCE/WCD QD1, 32)</a:t>
                      </a:r>
                    </a:p>
                  </a:txBody>
                  <a:tcPr marL="121920" marR="121920" marT="60960" marB="60960" anchor="ctr">
                    <a:lnL w="12700" cmpd="sng">
                      <a:noFill/>
                    </a:lnL>
                    <a:lnR w="12700" cmpd="sng">
                      <a:noFill/>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100" dirty="0">
                          <a:effectLst/>
                          <a:latin typeface="Arial"/>
                          <a:cs typeface="Arial"/>
                        </a:rPr>
                        <a:t>445, 445 IOPs</a:t>
                      </a:r>
                      <a:endParaRPr lang="en-US" sz="1100" dirty="0">
                        <a:effectLst/>
                        <a:latin typeface="Arial"/>
                        <a:ea typeface="Calibri" panose="020F0502020204030204" pitchFamily="34" charset="0"/>
                        <a:cs typeface="Arial"/>
                      </a:endParaRPr>
                    </a:p>
                  </a:txBody>
                  <a:tcPr marL="83724" marR="83724" marT="41862" marB="41862" anchor="ctr">
                    <a:lnL w="12700" cmpd="sng">
                      <a:noFill/>
                    </a:lnL>
                    <a:lnR w="12700" cmpd="sng">
                      <a:noFill/>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100" b="1" dirty="0">
                          <a:solidFill>
                            <a:srgbClr val="00B050"/>
                          </a:solidFill>
                          <a:effectLst/>
                          <a:latin typeface="Arial" panose="020B0604020202020204" pitchFamily="34" charset="0"/>
                          <a:cs typeface="Arial" panose="020B0604020202020204" pitchFamily="34" charset="0"/>
                        </a:rPr>
                        <a:t>565, 565 IOPs</a:t>
                      </a:r>
                    </a:p>
                  </a:txBody>
                  <a:tcPr marL="83724" marR="83724" marT="41862" marB="41862" anchor="ctr">
                    <a:lnL w="12700" cmpd="sng">
                      <a:noFill/>
                    </a:lnL>
                    <a:lnR w="12700" cmpd="sng">
                      <a:noFill/>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rgbClr val="00B050"/>
                          </a:solidFill>
                          <a:effectLst/>
                          <a:latin typeface="Arial" panose="020B0604020202020204" pitchFamily="34" charset="0"/>
                          <a:ea typeface="Calibri" panose="020F0502020204030204" pitchFamily="34" charset="0"/>
                          <a:cs typeface="Arial" panose="020B0604020202020204" pitchFamily="34" charset="0"/>
                          <a:sym typeface="Wingdings" pitchFamily="2" charset="2"/>
                        </a:rPr>
                        <a:t></a:t>
                      </a:r>
                      <a:endParaRPr lang="en-US" sz="1100" b="1" dirty="0">
                        <a:solidFill>
                          <a:srgbClr val="00B050"/>
                        </a:solidFill>
                        <a:effectLst/>
                        <a:latin typeface="Arial" panose="020B0604020202020204" pitchFamily="34" charset="0"/>
                        <a:ea typeface="Calibri" panose="020F0502020204030204" pitchFamily="34" charset="0"/>
                        <a:cs typeface="Arial" panose="020B0604020202020204" pitchFamily="34" charset="0"/>
                      </a:endParaRPr>
                    </a:p>
                  </a:txBody>
                  <a:tcPr marL="83724" marR="83724" marT="41862" marB="41862" anchor="ctr">
                    <a:lnL w="12700" cmpd="sng">
                      <a:noFill/>
                    </a:lnL>
                    <a:lnR w="12700" cmpd="sng">
                      <a:noFill/>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92417454"/>
                  </a:ext>
                </a:extLst>
              </a:tr>
              <a:tr h="431837">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a:solidFill>
                            <a:schemeClr val="tx1"/>
                          </a:solidFill>
                          <a:latin typeface="Arial" panose="020B0604020202020204" pitchFamily="34" charset="0"/>
                          <a:cs typeface="Arial" panose="020B0604020202020204" pitchFamily="34" charset="0"/>
                        </a:rPr>
                        <a:t>Reliability</a:t>
                      </a:r>
                    </a:p>
                  </a:txBody>
                  <a:tcPr marL="121920" marR="121920" marT="60960" marB="60960" anchor="ctr">
                    <a:lnL w="12700" cmpd="sng">
                      <a:noFill/>
                    </a:lnL>
                    <a:lnR w="12700" cmpd="sng">
                      <a:noFill/>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0">
                          <a:solidFill>
                            <a:schemeClr val="tx1"/>
                          </a:solidFill>
                          <a:latin typeface="+mn-lt"/>
                          <a:cs typeface="Calibri" panose="020F0502020204030204" pitchFamily="34" charset="0"/>
                        </a:rPr>
                        <a:t>Reliability</a:t>
                      </a:r>
                    </a:p>
                  </a:txBody>
                  <a:tcPr marL="121920" marR="121920" marT="60960" marB="60960" anchor="ctr">
                    <a:lnL w="12700" cmpd="sng">
                      <a:noFill/>
                    </a:lnL>
                    <a:lnR w="12700" cmpd="sng">
                      <a:noFill/>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spcBef>
                          <a:spcPts val="0"/>
                        </a:spcBef>
                        <a:spcAft>
                          <a:spcPts val="0"/>
                        </a:spcAft>
                      </a:pPr>
                      <a:r>
                        <a:rPr lang="en-US" sz="1100" dirty="0">
                          <a:effectLst/>
                          <a:latin typeface="Arial"/>
                          <a:ea typeface="Calibri" panose="020F0502020204030204" pitchFamily="34" charset="0"/>
                          <a:cs typeface="Arial"/>
                        </a:rPr>
                        <a:t>2.5M MTBF, </a:t>
                      </a:r>
                      <a:endParaRPr lang="en-US" sz="1100" dirty="0">
                        <a:effectLst/>
                        <a:latin typeface="Arial" panose="020B0604020202020204" pitchFamily="34" charset="0"/>
                        <a:ea typeface="Calibri" panose="020F0502020204030204" pitchFamily="34" charset="0"/>
                        <a:cs typeface="Arial" panose="020B0604020202020204" pitchFamily="34" charset="0"/>
                      </a:endParaRPr>
                    </a:p>
                    <a:p>
                      <a:pPr marL="0" marR="0" algn="ctr">
                        <a:spcBef>
                          <a:spcPts val="0"/>
                        </a:spcBef>
                        <a:spcAft>
                          <a:spcPts val="0"/>
                        </a:spcAft>
                      </a:pPr>
                      <a:r>
                        <a:rPr lang="en-US" sz="1100" dirty="0">
                          <a:effectLst/>
                          <a:latin typeface="Arial"/>
                          <a:ea typeface="Calibri" panose="020F0502020204030204" pitchFamily="34" charset="0"/>
                          <a:cs typeface="Arial"/>
                        </a:rPr>
                        <a:t>UBER: &lt;1 in 10</a:t>
                      </a:r>
                      <a:r>
                        <a:rPr lang="en-US" sz="1100" baseline="30000" dirty="0">
                          <a:effectLst/>
                          <a:latin typeface="Arial"/>
                          <a:ea typeface="Calibri" panose="020F0502020204030204" pitchFamily="34" charset="0"/>
                          <a:cs typeface="Arial"/>
                        </a:rPr>
                        <a:t>15</a:t>
                      </a:r>
                      <a:endParaRPr lang="en-US" sz="1100" dirty="0">
                        <a:effectLst/>
                        <a:latin typeface="Arial"/>
                        <a:ea typeface="Calibri" panose="020F0502020204030204" pitchFamily="34" charset="0"/>
                        <a:cs typeface="Arial"/>
                      </a:endParaRPr>
                    </a:p>
                  </a:txBody>
                  <a:tcPr marL="83724" marR="83724" marT="41862" marB="41862" anchor="ctr">
                    <a:lnL w="12700" cmpd="sng">
                      <a:noFill/>
                    </a:lnL>
                    <a:lnR w="12700" cmpd="sng">
                      <a:noFill/>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effectLst/>
                          <a:latin typeface="Arial" panose="020B0604020202020204" pitchFamily="34" charset="0"/>
                          <a:ea typeface="Calibri" panose="020F0502020204030204" pitchFamily="34" charset="0"/>
                          <a:cs typeface="Arial" panose="020B0604020202020204" pitchFamily="34" charset="0"/>
                          <a:sym typeface="Wingdings" pitchFamily="2" charset="2"/>
                        </a:rPr>
                        <a:t></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83724" marR="83724" marT="41862" marB="41862" anchor="ctr">
                    <a:lnL w="12700" cmpd="sng">
                      <a:noFill/>
                    </a:lnL>
                    <a:lnR w="12700" cmpd="sng">
                      <a:noFill/>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effectLst/>
                          <a:latin typeface="Arial" panose="020B0604020202020204" pitchFamily="34" charset="0"/>
                          <a:ea typeface="Calibri" panose="020F0502020204030204" pitchFamily="34" charset="0"/>
                          <a:cs typeface="Arial" panose="020B0604020202020204" pitchFamily="34" charset="0"/>
                          <a:sym typeface="Wingdings" pitchFamily="2" charset="2"/>
                        </a:rPr>
                        <a:t></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83724" marR="83724" marT="41862" marB="41862" anchor="ctr">
                    <a:lnL w="12700" cmpd="sng">
                      <a:noFill/>
                    </a:lnL>
                    <a:lnR w="12700" cmpd="sng">
                      <a:noFill/>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71568273"/>
                  </a:ext>
                </a:extLst>
              </a:tr>
              <a:tr h="502616">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a:solidFill>
                            <a:schemeClr val="tx1"/>
                          </a:solidFill>
                          <a:latin typeface="Arial" panose="020B0604020202020204" pitchFamily="34" charset="0"/>
                          <a:cs typeface="Arial" panose="020B0604020202020204" pitchFamily="34" charset="0"/>
                        </a:rPr>
                        <a:t>Op Shock </a:t>
                      </a:r>
                      <a:r>
                        <a:rPr lang="en-US" sz="1200" b="0">
                          <a:solidFill>
                            <a:schemeClr val="tx1"/>
                          </a:solidFill>
                          <a:latin typeface="Arial" panose="020B0604020202020204" pitchFamily="34" charset="0"/>
                          <a:cs typeface="Arial" panose="020B0604020202020204" pitchFamily="34" charset="0"/>
                        </a:rPr>
                        <a:t>(g, @2ms read, write) </a:t>
                      </a:r>
                      <a:br>
                        <a:rPr lang="en-US" sz="1200" b="0">
                          <a:solidFill>
                            <a:schemeClr val="tx1"/>
                          </a:solidFill>
                          <a:latin typeface="Arial" panose="020B0604020202020204" pitchFamily="34" charset="0"/>
                          <a:cs typeface="Arial" panose="020B0604020202020204" pitchFamily="34" charset="0"/>
                        </a:rPr>
                      </a:br>
                      <a:r>
                        <a:rPr lang="en-US" sz="1200" b="1">
                          <a:solidFill>
                            <a:schemeClr val="tx1"/>
                          </a:solidFill>
                          <a:latin typeface="Arial" panose="020B0604020202020204" pitchFamily="34" charset="0"/>
                          <a:cs typeface="Arial" panose="020B0604020202020204" pitchFamily="34" charset="0"/>
                        </a:rPr>
                        <a:t>Non-Op Shock </a:t>
                      </a:r>
                      <a:r>
                        <a:rPr lang="en-US" sz="1200" b="0">
                          <a:solidFill>
                            <a:schemeClr val="tx1"/>
                          </a:solidFill>
                          <a:latin typeface="Arial" panose="020B0604020202020204" pitchFamily="34" charset="0"/>
                          <a:cs typeface="Arial" panose="020B0604020202020204" pitchFamily="34" charset="0"/>
                        </a:rPr>
                        <a:t>(g, @2ms)</a:t>
                      </a:r>
                    </a:p>
                  </a:txBody>
                  <a:tcPr marL="121920" marR="121920" marT="60960" marB="60960" anchor="ctr">
                    <a:lnL w="12700" cmpd="sng">
                      <a:noFill/>
                    </a:lnL>
                    <a:lnR w="12700" cmpd="sng">
                      <a:noFill/>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a:solidFill>
                            <a:schemeClr val="tx1"/>
                          </a:solidFill>
                          <a:latin typeface="+mn-lt"/>
                          <a:cs typeface="Calibri" panose="020F0502020204030204" pitchFamily="34" charset="0"/>
                        </a:rPr>
                        <a:t>Op Sock (g, @2ms </a:t>
                      </a:r>
                      <a:r>
                        <a:rPr lang="en-US" sz="1400" b="0" err="1">
                          <a:solidFill>
                            <a:schemeClr val="tx1"/>
                          </a:solidFill>
                          <a:latin typeface="+mn-lt"/>
                          <a:cs typeface="Calibri" panose="020F0502020204030204" pitchFamily="34" charset="0"/>
                        </a:rPr>
                        <a:t>read,write</a:t>
                      </a:r>
                      <a:r>
                        <a:rPr lang="en-US" sz="1400" b="0">
                          <a:solidFill>
                            <a:schemeClr val="tx1"/>
                          </a:solidFill>
                          <a:latin typeface="+mn-lt"/>
                          <a:cs typeface="Calibri" panose="020F0502020204030204" pitchFamily="34" charset="0"/>
                        </a:rPr>
                        <a:t>), </a:t>
                      </a:r>
                      <a:br>
                        <a:rPr lang="en-US" sz="1400" b="0">
                          <a:solidFill>
                            <a:schemeClr val="tx1"/>
                          </a:solidFill>
                          <a:latin typeface="+mn-lt"/>
                          <a:cs typeface="Calibri" panose="020F0502020204030204" pitchFamily="34" charset="0"/>
                        </a:rPr>
                      </a:br>
                      <a:r>
                        <a:rPr lang="en-US" sz="1400" b="0">
                          <a:solidFill>
                            <a:schemeClr val="tx1"/>
                          </a:solidFill>
                          <a:latin typeface="+mn-lt"/>
                          <a:cs typeface="Calibri" panose="020F0502020204030204" pitchFamily="34" charset="0"/>
                        </a:rPr>
                        <a:t>Non-Op Shock (g, @2ms)</a:t>
                      </a:r>
                    </a:p>
                  </a:txBody>
                  <a:tcPr marL="121920" marR="121920" marT="60960" marB="60960" anchor="ctr">
                    <a:lnL w="12700" cmpd="sng">
                      <a:noFill/>
                    </a:lnL>
                    <a:lnR w="12700" cmpd="sng">
                      <a:noFill/>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100" b="1" dirty="0">
                          <a:solidFill>
                            <a:srgbClr val="00B050"/>
                          </a:solidFill>
                          <a:effectLst/>
                          <a:latin typeface="Arial"/>
                          <a:cs typeface="Arial"/>
                        </a:rPr>
                        <a:t>50 / 50</a:t>
                      </a:r>
                      <a:br>
                        <a:rPr lang="en-US" sz="1100" b="1" dirty="0">
                          <a:solidFill>
                            <a:srgbClr val="00B050"/>
                          </a:solidFill>
                          <a:effectLst/>
                          <a:latin typeface="Arial"/>
                          <a:cs typeface="Arial"/>
                        </a:rPr>
                      </a:br>
                      <a:r>
                        <a:rPr lang="en-US" sz="1100" b="1" dirty="0">
                          <a:solidFill>
                            <a:srgbClr val="00B050"/>
                          </a:solidFill>
                          <a:effectLst/>
                          <a:latin typeface="Arial"/>
                          <a:cs typeface="Arial"/>
                        </a:rPr>
                        <a:t>250</a:t>
                      </a:r>
                      <a:endParaRPr lang="en-US" sz="1100" b="1" dirty="0">
                        <a:solidFill>
                          <a:srgbClr val="00B050"/>
                        </a:solidFill>
                        <a:effectLst/>
                        <a:latin typeface="Arial"/>
                        <a:ea typeface="Calibri" panose="020F0502020204030204" pitchFamily="34" charset="0"/>
                        <a:cs typeface="Arial"/>
                      </a:endParaRPr>
                    </a:p>
                  </a:txBody>
                  <a:tcPr marL="83724" marR="83724" marT="41862" marB="41862" anchor="ctr">
                    <a:lnL w="12700" cmpd="sng">
                      <a:noFill/>
                    </a:lnL>
                    <a:lnR w="12700" cmpd="sng">
                      <a:noFill/>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effectLst/>
                          <a:latin typeface="Arial" panose="020B0604020202020204" pitchFamily="34" charset="0"/>
                          <a:ea typeface="Calibri" panose="020F0502020204030204" pitchFamily="34" charset="0"/>
                          <a:cs typeface="Arial" panose="020B0604020202020204" pitchFamily="34" charset="0"/>
                          <a:sym typeface="Wingdings" pitchFamily="2" charset="2"/>
                        </a:rPr>
                        <a:t></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83724" marR="83724" marT="41862" marB="41862" anchor="ctr">
                    <a:lnL w="12700" cmpd="sng">
                      <a:noFill/>
                    </a:lnL>
                    <a:lnR w="12700" cmpd="sng">
                      <a:noFill/>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effectLst/>
                          <a:latin typeface="Arial" panose="020B0604020202020204" pitchFamily="34" charset="0"/>
                          <a:ea typeface="Calibri" panose="020F0502020204030204" pitchFamily="34" charset="0"/>
                          <a:cs typeface="Arial" panose="020B0604020202020204" pitchFamily="34" charset="0"/>
                          <a:sym typeface="Wingdings" pitchFamily="2" charset="2"/>
                        </a:rPr>
                        <a:t>40 / 40</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effectLst/>
                          <a:latin typeface="Arial" panose="020B0604020202020204" pitchFamily="34" charset="0"/>
                          <a:ea typeface="Calibri" panose="020F0502020204030204" pitchFamily="34" charset="0"/>
                          <a:cs typeface="Arial" panose="020B0604020202020204" pitchFamily="34" charset="0"/>
                          <a:sym typeface="Wingdings" pitchFamily="2" charset="2"/>
                        </a:rPr>
                        <a:t>200</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83724" marR="83724" marT="41862" marB="41862" anchor="ctr">
                    <a:lnL w="12700" cmpd="sng">
                      <a:noFill/>
                    </a:lnL>
                    <a:lnR w="12700" cmpd="sng">
                      <a:noFill/>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16261799"/>
                  </a:ext>
                </a:extLst>
              </a:tr>
            </a:tbl>
          </a:graphicData>
        </a:graphic>
      </p:graphicFrame>
      <p:sp>
        <p:nvSpPr>
          <p:cNvPr id="4" name="Rectangle 3">
            <a:extLst>
              <a:ext uri="{FF2B5EF4-FFF2-40B4-BE49-F238E27FC236}">
                <a16:creationId xmlns:a16="http://schemas.microsoft.com/office/drawing/2014/main" id="{C58C64DC-5CC0-A541-904A-CE8A5728D2FB}"/>
              </a:ext>
            </a:extLst>
          </p:cNvPr>
          <p:cNvSpPr/>
          <p:nvPr/>
        </p:nvSpPr>
        <p:spPr>
          <a:xfrm>
            <a:off x="274638" y="2291373"/>
            <a:ext cx="4683674" cy="4478149"/>
          </a:xfrm>
          <a:prstGeom prst="rect">
            <a:avLst/>
          </a:prstGeom>
        </p:spPr>
        <p:txBody>
          <a:bodyPr wrap="square" lIns="91440" tIns="45720" rIns="91440" bIns="45720" anchor="t">
            <a:spAutoFit/>
          </a:bodyPr>
          <a:lstStyle/>
          <a:p>
            <a:pPr>
              <a:spcAft>
                <a:spcPts val="1800"/>
              </a:spcAft>
            </a:pPr>
            <a:r>
              <a:rPr lang="en-US" sz="1400" b="1" spc="150" dirty="0">
                <a:solidFill>
                  <a:schemeClr val="tx1">
                    <a:lumMod val="50000"/>
                    <a:lumOff val="50000"/>
                  </a:schemeClr>
                </a:solidFill>
                <a:latin typeface="Arial" panose="020B0604020202020204" pitchFamily="34" charset="0"/>
                <a:ea typeface="Verdana" panose="020B0604030504040204" pitchFamily="34" charset="0"/>
                <a:cs typeface="Arial" panose="020B0604020202020204" pitchFamily="34" charset="0"/>
              </a:rPr>
              <a:t>D-GEN CAPACITY ENABLERS</a:t>
            </a:r>
          </a:p>
          <a:p>
            <a:pPr marL="285750" indent="-285750">
              <a:spcAft>
                <a:spcPts val="2400"/>
              </a:spcAft>
              <a:buFont typeface="Arial" panose="020B0604020202020204" pitchFamily="34" charset="0"/>
              <a:buChar char="•"/>
            </a:pPr>
            <a:r>
              <a:rPr lang="en-US" sz="1400" b="1" dirty="0" err="1">
                <a:latin typeface="Arial" panose="020B0604020202020204" pitchFamily="34" charset="0"/>
                <a:cs typeface="Arial" panose="020B0604020202020204" pitchFamily="34" charset="0"/>
              </a:rPr>
              <a:t>OptiNAND</a:t>
            </a:r>
            <a:r>
              <a:rPr lang="en-US" sz="1400" b="1" dirty="0">
                <a:ea typeface="+mn-lt"/>
                <a:cs typeface="+mn-lt"/>
              </a:rPr>
              <a:t>™</a:t>
            </a:r>
            <a:r>
              <a:rPr lang="en-US" sz="1400" b="1" dirty="0">
                <a:latin typeface="Arial" panose="020B0604020202020204" pitchFamily="34" charset="0"/>
                <a:cs typeface="Arial" panose="020B0604020202020204" pitchFamily="34" charset="0"/>
              </a:rPr>
              <a:t> </a:t>
            </a:r>
            <a:r>
              <a:rPr lang="en-US" sz="1400" dirty="0">
                <a:latin typeface="Arial" panose="020B0604020202020204" pitchFamily="34" charset="0"/>
                <a:cs typeface="Arial" panose="020B0604020202020204" pitchFamily="34" charset="0"/>
              </a:rPr>
              <a:t>technology uses enhanced FW to increase track following precision</a:t>
            </a:r>
          </a:p>
          <a:p>
            <a:pPr marL="285750" indent="-285750">
              <a:spcAft>
                <a:spcPts val="2400"/>
              </a:spcAft>
              <a:buFont typeface="Arial" panose="020B0604020202020204" pitchFamily="34" charset="0"/>
              <a:buChar char="•"/>
            </a:pPr>
            <a:r>
              <a:rPr lang="en-US" sz="1400" b="1" dirty="0" err="1">
                <a:ea typeface="+mn-lt"/>
                <a:cs typeface="+mn-lt"/>
              </a:rPr>
              <a:t>ArmorCache</a:t>
            </a:r>
            <a:r>
              <a:rPr lang="en-US" sz="1400" b="1" dirty="0">
                <a:ea typeface="+mn-lt"/>
                <a:cs typeface="+mn-lt"/>
              </a:rPr>
              <a:t>™</a:t>
            </a:r>
            <a:r>
              <a:rPr lang="en-US" sz="1400" dirty="0">
                <a:ea typeface="+mn-lt"/>
                <a:cs typeface="+mn-lt"/>
              </a:rPr>
              <a:t> improves performance and provides enterprise power loss protection.</a:t>
            </a:r>
            <a:endParaRPr lang="en-US" sz="1400" b="1" dirty="0">
              <a:latin typeface="Arial"/>
              <a:cs typeface="Arial"/>
            </a:endParaRPr>
          </a:p>
          <a:p>
            <a:pPr marL="285750" indent="-285750">
              <a:spcAft>
                <a:spcPts val="2400"/>
              </a:spcAft>
              <a:buFont typeface="Arial" panose="020B0604020202020204" pitchFamily="34" charset="0"/>
              <a:buChar char="•"/>
            </a:pPr>
            <a:r>
              <a:rPr lang="en-US" sz="1400" b="1" dirty="0" err="1">
                <a:latin typeface="Arial"/>
                <a:cs typeface="Arial"/>
              </a:rPr>
              <a:t>UltraSMR</a:t>
            </a:r>
            <a:r>
              <a:rPr lang="en-US" sz="1400" dirty="0">
                <a:latin typeface="Arial"/>
                <a:cs typeface="Arial"/>
              </a:rPr>
              <a:t> provides extra SMR capacity with improved error correction</a:t>
            </a:r>
            <a:endParaRPr lang="en-US" sz="2000" dirty="0">
              <a:latin typeface="Arial"/>
              <a:cs typeface="Arial"/>
            </a:endParaRPr>
          </a:p>
          <a:p>
            <a:pPr marL="285750" indent="-285750">
              <a:spcAft>
                <a:spcPts val="2400"/>
              </a:spcAft>
              <a:buFont typeface="Arial" panose="020B0604020202020204" pitchFamily="34" charset="0"/>
              <a:buChar char="•"/>
            </a:pPr>
            <a:r>
              <a:rPr lang="en-US" sz="1400" b="1" dirty="0">
                <a:latin typeface="Arial" panose="020B0604020202020204" pitchFamily="34" charset="0"/>
                <a:cs typeface="Arial" panose="020B0604020202020204" pitchFamily="34" charset="0"/>
              </a:rPr>
              <a:t>Triple-Stage Actuator </a:t>
            </a:r>
            <a:r>
              <a:rPr lang="en-US" sz="1400" dirty="0">
                <a:latin typeface="Arial" panose="020B0604020202020204" pitchFamily="34" charset="0"/>
                <a:cs typeface="Arial" panose="020B0604020202020204" pitchFamily="34" charset="0"/>
              </a:rPr>
              <a:t>improves TPI capability with more precise actuator arm control</a:t>
            </a:r>
          </a:p>
          <a:p>
            <a:pPr marL="285750" indent="-285750">
              <a:spcAft>
                <a:spcPts val="2400"/>
              </a:spcAft>
              <a:buFont typeface="Arial" panose="020B0604020202020204" pitchFamily="34" charset="0"/>
              <a:buChar char="•"/>
            </a:pPr>
            <a:r>
              <a:rPr lang="en-US" sz="1400" b="1" dirty="0">
                <a:latin typeface="Arial" panose="020B0604020202020204" pitchFamily="34" charset="0"/>
                <a:cs typeface="Arial" panose="020B0604020202020204" pitchFamily="34" charset="0"/>
              </a:rPr>
              <a:t>ePMR </a:t>
            </a:r>
            <a:r>
              <a:rPr lang="en-US" sz="1400" dirty="0">
                <a:latin typeface="Arial" panose="020B0604020202020204" pitchFamily="34" charset="0"/>
                <a:cs typeface="Arial" panose="020B0604020202020204" pitchFamily="34" charset="0"/>
              </a:rPr>
              <a:t>increases Areal Density with more precise recording head technology</a:t>
            </a:r>
          </a:p>
          <a:p>
            <a:endParaRPr lang="en-US" sz="1600" dirty="0">
              <a:latin typeface="Arial" panose="020B0604020202020204" pitchFamily="34" charset="0"/>
              <a:cs typeface="Arial" panose="020B0604020202020204" pitchFamily="34" charset="0"/>
            </a:endParaRPr>
          </a:p>
        </p:txBody>
      </p:sp>
      <p:pic>
        <p:nvPicPr>
          <p:cNvPr id="11" name="Picture 10">
            <a:extLst>
              <a:ext uri="{FF2B5EF4-FFF2-40B4-BE49-F238E27FC236}">
                <a16:creationId xmlns:a16="http://schemas.microsoft.com/office/drawing/2014/main" id="{90B47100-D1BA-5741-AEB7-29BFF9D0EFE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136512" y="660163"/>
            <a:ext cx="914400" cy="1383778"/>
          </a:xfrm>
          <a:prstGeom prst="rect">
            <a:avLst/>
          </a:prstGeom>
        </p:spPr>
      </p:pic>
      <p:pic>
        <p:nvPicPr>
          <p:cNvPr id="12" name="Picture 11">
            <a:extLst>
              <a:ext uri="{FF2B5EF4-FFF2-40B4-BE49-F238E27FC236}">
                <a16:creationId xmlns:a16="http://schemas.microsoft.com/office/drawing/2014/main" id="{4EC9ED60-9F75-0748-A6DC-AFD858554D2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1064781" y="667294"/>
            <a:ext cx="907143" cy="1371600"/>
          </a:xfrm>
          <a:prstGeom prst="rect">
            <a:avLst/>
          </a:prstGeom>
        </p:spPr>
      </p:pic>
      <p:pic>
        <p:nvPicPr>
          <p:cNvPr id="13" name="Picture 12">
            <a:extLst>
              <a:ext uri="{FF2B5EF4-FFF2-40B4-BE49-F238E27FC236}">
                <a16:creationId xmlns:a16="http://schemas.microsoft.com/office/drawing/2014/main" id="{9A0FAAC6-4469-374A-A344-2F6C7E8E6697}"/>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375219" y="660163"/>
            <a:ext cx="914400" cy="1383778"/>
          </a:xfrm>
          <a:prstGeom prst="rect">
            <a:avLst/>
          </a:prstGeom>
        </p:spPr>
      </p:pic>
      <p:sp>
        <p:nvSpPr>
          <p:cNvPr id="6" name="Left Bracket 5">
            <a:extLst>
              <a:ext uri="{FF2B5EF4-FFF2-40B4-BE49-F238E27FC236}">
                <a16:creationId xmlns:a16="http://schemas.microsoft.com/office/drawing/2014/main" id="{1242DB53-7542-2341-ACF9-1FBA6BA4D399}"/>
              </a:ext>
            </a:extLst>
          </p:cNvPr>
          <p:cNvSpPr/>
          <p:nvPr/>
        </p:nvSpPr>
        <p:spPr>
          <a:xfrm rot="5400000">
            <a:off x="9494268" y="-1750978"/>
            <a:ext cx="162737" cy="4841788"/>
          </a:xfrm>
          <a:prstGeom prst="leftBracket">
            <a:avLst>
              <a:gd name="adj" fmla="val 0"/>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 name="TextBox 6">
            <a:extLst>
              <a:ext uri="{FF2B5EF4-FFF2-40B4-BE49-F238E27FC236}">
                <a16:creationId xmlns:a16="http://schemas.microsoft.com/office/drawing/2014/main" id="{CCCA18F0-18E8-3847-8CB4-D02DE1F4A0F2}"/>
              </a:ext>
            </a:extLst>
          </p:cNvPr>
          <p:cNvSpPr txBox="1"/>
          <p:nvPr/>
        </p:nvSpPr>
        <p:spPr>
          <a:xfrm>
            <a:off x="7760893" y="349593"/>
            <a:ext cx="2120759" cy="230832"/>
          </a:xfrm>
          <a:prstGeom prst="rect">
            <a:avLst/>
          </a:prstGeom>
          <a:noFill/>
        </p:spPr>
        <p:txBody>
          <a:bodyPr wrap="square" rtlCol="0">
            <a:spAutoFit/>
          </a:bodyPr>
          <a:lstStyle/>
          <a:p>
            <a:pPr algn="ctr"/>
            <a:r>
              <a:rPr lang="en-US" sz="900" b="1" spc="300">
                <a:solidFill>
                  <a:schemeClr val="bg1">
                    <a:lumMod val="75000"/>
                  </a:schemeClr>
                </a:solidFill>
              </a:rPr>
              <a:t>SINGLE ACTUATOR</a:t>
            </a:r>
          </a:p>
        </p:txBody>
      </p:sp>
      <p:pic>
        <p:nvPicPr>
          <p:cNvPr id="14" name="Picture 13" descr="A close up of a phone&#10;&#10;Description automatically generated">
            <a:extLst>
              <a:ext uri="{FF2B5EF4-FFF2-40B4-BE49-F238E27FC236}">
                <a16:creationId xmlns:a16="http://schemas.microsoft.com/office/drawing/2014/main" id="{D4E76F88-EF2E-4E50-9EAD-EBFF8C78C17F}"/>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780552" y="598613"/>
            <a:ext cx="1106424" cy="1508760"/>
          </a:xfrm>
          <a:prstGeom prst="rect">
            <a:avLst/>
          </a:prstGeom>
        </p:spPr>
      </p:pic>
      <p:grpSp>
        <p:nvGrpSpPr>
          <p:cNvPr id="15" name="Group 14">
            <a:extLst>
              <a:ext uri="{FF2B5EF4-FFF2-40B4-BE49-F238E27FC236}">
                <a16:creationId xmlns:a16="http://schemas.microsoft.com/office/drawing/2014/main" id="{B418FA8E-D596-4B7B-9E8D-ACAC86F52808}"/>
              </a:ext>
            </a:extLst>
          </p:cNvPr>
          <p:cNvGrpSpPr>
            <a:grpSpLocks noChangeAspect="1"/>
          </p:cNvGrpSpPr>
          <p:nvPr/>
        </p:nvGrpSpPr>
        <p:grpSpPr>
          <a:xfrm>
            <a:off x="7086606" y="599872"/>
            <a:ext cx="1055826" cy="1508760"/>
            <a:chOff x="7500612" y="1510141"/>
            <a:chExt cx="1932405" cy="2635098"/>
          </a:xfrm>
        </p:grpSpPr>
        <p:pic>
          <p:nvPicPr>
            <p:cNvPr id="16" name="Picture 15" descr="A close up of a phone&#10;&#10;Description automatically generated">
              <a:extLst>
                <a:ext uri="{FF2B5EF4-FFF2-40B4-BE49-F238E27FC236}">
                  <a16:creationId xmlns:a16="http://schemas.microsoft.com/office/drawing/2014/main" id="{1EE875F9-1276-41CD-B3A0-297C0BBF0AEA}"/>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500612" y="1510141"/>
              <a:ext cx="1932405" cy="2635098"/>
            </a:xfrm>
            <a:prstGeom prst="rect">
              <a:avLst/>
            </a:prstGeom>
          </p:spPr>
        </p:pic>
        <p:pic>
          <p:nvPicPr>
            <p:cNvPr id="17" name="Picture 16">
              <a:extLst>
                <a:ext uri="{FF2B5EF4-FFF2-40B4-BE49-F238E27FC236}">
                  <a16:creationId xmlns:a16="http://schemas.microsoft.com/office/drawing/2014/main" id="{70C0E7A4-1032-4E4A-AB02-294523DF3C0C}"/>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018428" y="3212276"/>
              <a:ext cx="639843" cy="346903"/>
            </a:xfrm>
            <a:prstGeom prst="rect">
              <a:avLst/>
            </a:prstGeom>
          </p:spPr>
        </p:pic>
      </p:grpSp>
    </p:spTree>
    <p:extLst>
      <p:ext uri="{BB962C8B-B14F-4D97-AF65-F5344CB8AC3E}">
        <p14:creationId xmlns:p14="http://schemas.microsoft.com/office/powerpoint/2010/main" val="23986876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132"/>
        <p:cNvGrpSpPr/>
        <p:nvPr/>
      </p:nvGrpSpPr>
      <p:grpSpPr>
        <a:xfrm>
          <a:off x="0" y="0"/>
          <a:ext cx="0" cy="0"/>
          <a:chOff x="0" y="0"/>
          <a:chExt cx="0" cy="0"/>
        </a:xfrm>
      </p:grpSpPr>
      <p:sp>
        <p:nvSpPr>
          <p:cNvPr id="4" name="Rectangle 3">
            <a:extLst>
              <a:ext uri="{FF2B5EF4-FFF2-40B4-BE49-F238E27FC236}">
                <a16:creationId xmlns:a16="http://schemas.microsoft.com/office/drawing/2014/main" id="{A825FD66-AC72-FE4F-98E7-116357D75D42}"/>
              </a:ext>
            </a:extLst>
          </p:cNvPr>
          <p:cNvSpPr/>
          <p:nvPr/>
        </p:nvSpPr>
        <p:spPr>
          <a:xfrm>
            <a:off x="1219199" y="1746563"/>
            <a:ext cx="8594652" cy="5025712"/>
          </a:xfrm>
          <a:prstGeom prst="rect">
            <a:avLst/>
          </a:prstGeom>
          <a:blipFill>
            <a:blip r:embed="rId3" cstate="screen">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58C437E0-503E-5349-9DCC-8D84A79F090B}"/>
              </a:ext>
            </a:extLst>
          </p:cNvPr>
          <p:cNvSpPr/>
          <p:nvPr/>
        </p:nvSpPr>
        <p:spPr>
          <a:xfrm>
            <a:off x="0" y="1746566"/>
            <a:ext cx="7549116" cy="5025710"/>
          </a:xfrm>
          <a:prstGeom prst="rect">
            <a:avLst/>
          </a:prstGeom>
          <a:gradFill flip="none" rotWithShape="1">
            <a:gsLst>
              <a:gs pos="35000">
                <a:schemeClr val="tx1"/>
              </a:gs>
              <a:gs pos="99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buClr>
                <a:srgbClr val="000000"/>
              </a:buClr>
              <a:defRPr/>
            </a:pPr>
            <a:endParaRPr lang="x-none" sz="1400" kern="0">
              <a:solidFill>
                <a:srgbClr val="FFFFFF"/>
              </a:solidFill>
              <a:latin typeface="Arial"/>
              <a:sym typeface="Arial"/>
            </a:endParaRPr>
          </a:p>
        </p:txBody>
      </p:sp>
      <p:sp>
        <p:nvSpPr>
          <p:cNvPr id="19" name="Rectangle 18">
            <a:extLst>
              <a:ext uri="{FF2B5EF4-FFF2-40B4-BE49-F238E27FC236}">
                <a16:creationId xmlns:a16="http://schemas.microsoft.com/office/drawing/2014/main" id="{19E67877-96EA-4067-B9ED-CD42BC2BDC47}"/>
              </a:ext>
            </a:extLst>
          </p:cNvPr>
          <p:cNvSpPr/>
          <p:nvPr/>
        </p:nvSpPr>
        <p:spPr>
          <a:xfrm>
            <a:off x="332927" y="1746565"/>
            <a:ext cx="886273" cy="502571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buClr>
                <a:srgbClr val="000000"/>
              </a:buClr>
              <a:defRPr/>
            </a:pPr>
            <a:endParaRPr lang="x-none" sz="1400" kern="0">
              <a:solidFill>
                <a:srgbClr val="FFFFFF"/>
              </a:solidFill>
              <a:latin typeface="Arial"/>
              <a:sym typeface="Arial"/>
            </a:endParaRPr>
          </a:p>
        </p:txBody>
      </p:sp>
      <p:sp>
        <p:nvSpPr>
          <p:cNvPr id="12" name="Rectangle 11">
            <a:extLst>
              <a:ext uri="{FF2B5EF4-FFF2-40B4-BE49-F238E27FC236}">
                <a16:creationId xmlns:a16="http://schemas.microsoft.com/office/drawing/2014/main" id="{FE9B462A-C033-D041-A7A7-303FFFAB6DAB}"/>
              </a:ext>
            </a:extLst>
          </p:cNvPr>
          <p:cNvSpPr/>
          <p:nvPr/>
        </p:nvSpPr>
        <p:spPr>
          <a:xfrm>
            <a:off x="6419849" y="1746564"/>
            <a:ext cx="5780333" cy="5025711"/>
          </a:xfrm>
          <a:prstGeom prst="rect">
            <a:avLst/>
          </a:prstGeom>
          <a:gradFill flip="none" rotWithShape="1">
            <a:gsLst>
              <a:gs pos="47000">
                <a:schemeClr val="tx1"/>
              </a:gs>
              <a:gs pos="100000">
                <a:schemeClr val="accent1">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70F5F4A-FFE8-EB42-B2E3-A8BEE8472620}"/>
              </a:ext>
            </a:extLst>
          </p:cNvPr>
          <p:cNvSpPr>
            <a:spLocks noGrp="1"/>
          </p:cNvSpPr>
          <p:nvPr>
            <p:ph type="title"/>
          </p:nvPr>
        </p:nvSpPr>
        <p:spPr/>
        <p:txBody>
          <a:bodyPr wrap="square" anchor="t"/>
          <a:lstStyle/>
          <a:p>
            <a:r>
              <a:rPr lang="en-US" dirty="0" err="1">
                <a:sym typeface="Verdana"/>
              </a:rPr>
              <a:t>ArmorCache</a:t>
            </a:r>
            <a:r>
              <a:rPr lang="en-US" dirty="0">
                <a:sym typeface="Verdana"/>
              </a:rPr>
              <a:t>™ on Ultrastar</a:t>
            </a:r>
            <a:endParaRPr lang="en-IL" dirty="0"/>
          </a:p>
        </p:txBody>
      </p:sp>
      <p:sp>
        <p:nvSpPr>
          <p:cNvPr id="16" name="Text Placeholder 3">
            <a:extLst>
              <a:ext uri="{FF2B5EF4-FFF2-40B4-BE49-F238E27FC236}">
                <a16:creationId xmlns:a16="http://schemas.microsoft.com/office/drawing/2014/main" id="{3F22D9BE-EC60-EC46-A262-AC52E884525F}"/>
              </a:ext>
            </a:extLst>
          </p:cNvPr>
          <p:cNvSpPr>
            <a:spLocks noGrp="1"/>
          </p:cNvSpPr>
          <p:nvPr>
            <p:ph type="body" sz="quarter" idx="12"/>
          </p:nvPr>
        </p:nvSpPr>
        <p:spPr/>
        <p:txBody>
          <a:bodyPr/>
          <a:lstStyle/>
          <a:p>
            <a:pPr marL="0" indent="0">
              <a:lnSpc>
                <a:spcPts val="2200"/>
              </a:lnSpc>
              <a:buClr>
                <a:srgbClr val="000000"/>
              </a:buClr>
              <a:buSzPts val="1100"/>
              <a:buNone/>
              <a:defRPr/>
            </a:pPr>
            <a:r>
              <a:rPr lang="en-US" dirty="0">
                <a:latin typeface="Arial" panose="020B0604020202020204" pitchFamily="34" charset="0"/>
                <a:cs typeface="Arial" panose="020B0604020202020204" pitchFamily="34" charset="0"/>
                <a:sym typeface="Calibri"/>
              </a:rPr>
              <a:t>Write cache data safety feature, enabled by </a:t>
            </a:r>
            <a:r>
              <a:rPr lang="en-US" dirty="0" err="1">
                <a:latin typeface="Arial" panose="020B0604020202020204" pitchFamily="34" charset="0"/>
                <a:cs typeface="Arial" panose="020B0604020202020204" pitchFamily="34" charset="0"/>
                <a:sym typeface="Calibri"/>
              </a:rPr>
              <a:t>OptiNAND</a:t>
            </a:r>
            <a:r>
              <a:rPr lang="en-US" dirty="0">
                <a:sym typeface="Verdana"/>
              </a:rPr>
              <a:t> ™</a:t>
            </a:r>
            <a:endParaRPr lang="en-US" b="1" dirty="0">
              <a:latin typeface="Arial" panose="020B0604020202020204" pitchFamily="34" charset="0"/>
              <a:cs typeface="Arial" panose="020B0604020202020204" pitchFamily="34" charset="0"/>
              <a:sym typeface="Calibri"/>
            </a:endParaRPr>
          </a:p>
        </p:txBody>
      </p:sp>
      <p:graphicFrame>
        <p:nvGraphicFramePr>
          <p:cNvPr id="24" name="Table 6">
            <a:extLst>
              <a:ext uri="{FF2B5EF4-FFF2-40B4-BE49-F238E27FC236}">
                <a16:creationId xmlns:a16="http://schemas.microsoft.com/office/drawing/2014/main" id="{814307A4-7762-4413-8AB1-F1A11480C158}"/>
              </a:ext>
            </a:extLst>
          </p:cNvPr>
          <p:cNvGraphicFramePr>
            <a:graphicFrameLocks/>
          </p:cNvGraphicFramePr>
          <p:nvPr>
            <p:extLst>
              <p:ext uri="{D42A27DB-BD31-4B8C-83A1-F6EECF244321}">
                <p14:modId xmlns:p14="http://schemas.microsoft.com/office/powerpoint/2010/main" val="3218760363"/>
              </p:ext>
            </p:extLst>
          </p:nvPr>
        </p:nvGraphicFramePr>
        <p:xfrm>
          <a:off x="6083132" y="4884772"/>
          <a:ext cx="6042170" cy="1468120"/>
        </p:xfrm>
        <a:graphic>
          <a:graphicData uri="http://schemas.openxmlformats.org/drawingml/2006/table">
            <a:tbl>
              <a:tblPr firstRow="1" bandRow="1">
                <a:tableStyleId>{793D81CF-94F2-401A-BA57-92F5A7B2D0C5}</a:tableStyleId>
              </a:tblPr>
              <a:tblGrid>
                <a:gridCol w="1311581">
                  <a:extLst>
                    <a:ext uri="{9D8B030D-6E8A-4147-A177-3AD203B41FA5}">
                      <a16:colId xmlns:a16="http://schemas.microsoft.com/office/drawing/2014/main" val="1245592386"/>
                    </a:ext>
                  </a:extLst>
                </a:gridCol>
                <a:gridCol w="1124778">
                  <a:extLst>
                    <a:ext uri="{9D8B030D-6E8A-4147-A177-3AD203B41FA5}">
                      <a16:colId xmlns:a16="http://schemas.microsoft.com/office/drawing/2014/main" val="3492364815"/>
                    </a:ext>
                  </a:extLst>
                </a:gridCol>
                <a:gridCol w="1169452">
                  <a:extLst>
                    <a:ext uri="{9D8B030D-6E8A-4147-A177-3AD203B41FA5}">
                      <a16:colId xmlns:a16="http://schemas.microsoft.com/office/drawing/2014/main" val="3690087697"/>
                    </a:ext>
                  </a:extLst>
                </a:gridCol>
                <a:gridCol w="1266907">
                  <a:extLst>
                    <a:ext uri="{9D8B030D-6E8A-4147-A177-3AD203B41FA5}">
                      <a16:colId xmlns:a16="http://schemas.microsoft.com/office/drawing/2014/main" val="351429032"/>
                    </a:ext>
                  </a:extLst>
                </a:gridCol>
                <a:gridCol w="1169452">
                  <a:extLst>
                    <a:ext uri="{9D8B030D-6E8A-4147-A177-3AD203B41FA5}">
                      <a16:colId xmlns:a16="http://schemas.microsoft.com/office/drawing/2014/main" val="1006736404"/>
                    </a:ext>
                  </a:extLst>
                </a:gridCol>
              </a:tblGrid>
              <a:tr h="320040">
                <a:tc rowSpan="2">
                  <a:txBody>
                    <a:bodyPr/>
                    <a:lstStyle/>
                    <a:p>
                      <a:endParaRPr lang="en-US" sz="1200"/>
                    </a:p>
                  </a:txBody>
                  <a:tcPr anchor="ctr">
                    <a:noFill/>
                  </a:tcPr>
                </a:tc>
                <a:tc gridSpan="2">
                  <a:txBody>
                    <a:bodyPr/>
                    <a:lstStyle/>
                    <a:p>
                      <a:pPr algn="ctr"/>
                      <a:r>
                        <a:rPr lang="en-US" sz="1200">
                          <a:solidFill>
                            <a:schemeClr val="bg1"/>
                          </a:solidFill>
                        </a:rPr>
                        <a:t>WCE Mode</a:t>
                      </a:r>
                    </a:p>
                  </a:txBody>
                  <a:tcPr anchor="ctr"/>
                </a:tc>
                <a:tc hMerge="1">
                  <a:txBody>
                    <a:bodyPr/>
                    <a:lstStyle/>
                    <a:p>
                      <a:endParaRPr lang="en-US"/>
                    </a:p>
                  </a:txBody>
                  <a:tcPr/>
                </a:tc>
                <a:tc gridSpan="2">
                  <a:txBody>
                    <a:bodyPr/>
                    <a:lstStyle/>
                    <a:p>
                      <a:pPr algn="ctr"/>
                      <a:r>
                        <a:rPr lang="en-US" sz="1200">
                          <a:solidFill>
                            <a:schemeClr val="bg1"/>
                          </a:solidFill>
                        </a:rPr>
                        <a:t>WCD Mode</a:t>
                      </a:r>
                    </a:p>
                  </a:txBody>
                  <a:tcPr anchor="ctr"/>
                </a:tc>
                <a:tc hMerge="1">
                  <a:txBody>
                    <a:bodyPr/>
                    <a:lstStyle/>
                    <a:p>
                      <a:endParaRPr lang="en-US"/>
                    </a:p>
                  </a:txBody>
                  <a:tcPr/>
                </a:tc>
                <a:extLst>
                  <a:ext uri="{0D108BD9-81ED-4DB2-BD59-A6C34878D82A}">
                    <a16:rowId xmlns:a16="http://schemas.microsoft.com/office/drawing/2014/main" val="1892626082"/>
                  </a:ext>
                </a:extLst>
              </a:tr>
              <a:tr h="320040">
                <a:tc vMerge="1">
                  <a:txBody>
                    <a:bodyPr/>
                    <a:lstStyle/>
                    <a:p>
                      <a:endParaRPr lang="en-US"/>
                    </a:p>
                  </a:txBody>
                  <a:tcPr/>
                </a:tc>
                <a:tc>
                  <a:txBody>
                    <a:bodyPr/>
                    <a:lstStyle/>
                    <a:p>
                      <a:pPr algn="ctr"/>
                      <a:r>
                        <a:rPr lang="en-US" sz="1200">
                          <a:solidFill>
                            <a:schemeClr val="tx1"/>
                          </a:solidFill>
                        </a:rPr>
                        <a:t>Performance</a:t>
                      </a:r>
                    </a:p>
                  </a:txBody>
                  <a:tcPr anchor="ctr"/>
                </a:tc>
                <a:tc>
                  <a:txBody>
                    <a:bodyPr/>
                    <a:lstStyle/>
                    <a:p>
                      <a:pPr algn="ctr"/>
                      <a:r>
                        <a:rPr lang="en-US" sz="1200">
                          <a:solidFill>
                            <a:schemeClr val="tx1"/>
                          </a:solidFill>
                        </a:rPr>
                        <a:t>Power Loss</a:t>
                      </a:r>
                    </a:p>
                  </a:txBody>
                  <a:tcPr anchor="ctr"/>
                </a:tc>
                <a:tc>
                  <a:txBody>
                    <a:bodyPr/>
                    <a:lstStyle/>
                    <a:p>
                      <a:pPr algn="ctr"/>
                      <a:r>
                        <a:rPr lang="en-US" sz="1200">
                          <a:solidFill>
                            <a:schemeClr val="tx1"/>
                          </a:solidFill>
                        </a:rPr>
                        <a:t>Performance</a:t>
                      </a:r>
                    </a:p>
                  </a:txBody>
                  <a:tcPr anchor="ctr"/>
                </a:tc>
                <a:tc>
                  <a:txBody>
                    <a:bodyPr/>
                    <a:lstStyle/>
                    <a:p>
                      <a:pPr algn="ctr"/>
                      <a:r>
                        <a:rPr lang="en-US" sz="1200">
                          <a:solidFill>
                            <a:schemeClr val="tx1"/>
                          </a:solidFill>
                        </a:rPr>
                        <a:t>Power Loss</a:t>
                      </a:r>
                    </a:p>
                  </a:txBody>
                  <a:tcPr anchor="ctr"/>
                </a:tc>
                <a:extLst>
                  <a:ext uri="{0D108BD9-81ED-4DB2-BD59-A6C34878D82A}">
                    <a16:rowId xmlns:a16="http://schemas.microsoft.com/office/drawing/2014/main" val="1542907909"/>
                  </a:ext>
                </a:extLst>
              </a:tr>
              <a:tr h="370840">
                <a:tc>
                  <a:txBody>
                    <a:bodyPr/>
                    <a:lstStyle/>
                    <a:p>
                      <a:r>
                        <a:rPr lang="en-US" sz="1200" dirty="0"/>
                        <a:t>Prior drives</a:t>
                      </a:r>
                    </a:p>
                  </a:txBody>
                  <a:tcPr anchor="ctr"/>
                </a:tc>
                <a:tc>
                  <a:txBody>
                    <a:bodyPr/>
                    <a:lstStyle/>
                    <a:p>
                      <a:pPr algn="ctr"/>
                      <a:r>
                        <a:rPr lang="en-US" sz="1200"/>
                        <a:t>High</a:t>
                      </a:r>
                    </a:p>
                  </a:txBody>
                  <a:tcPr anchor="ctr"/>
                </a:tc>
                <a:tc>
                  <a:txBody>
                    <a:bodyPr/>
                    <a:lstStyle/>
                    <a:p>
                      <a:pPr algn="ctr"/>
                      <a:r>
                        <a:rPr lang="en-US" sz="1200"/>
                        <a:t>Data at risk</a:t>
                      </a:r>
                    </a:p>
                  </a:txBody>
                  <a:tcPr anchor="ctr"/>
                </a:tc>
                <a:tc>
                  <a:txBody>
                    <a:bodyPr/>
                    <a:lstStyle/>
                    <a:p>
                      <a:pPr algn="ctr"/>
                      <a:r>
                        <a:rPr lang="en-US" sz="1200"/>
                        <a:t>Lower</a:t>
                      </a:r>
                    </a:p>
                  </a:txBody>
                  <a:tcPr anchor="ctr"/>
                </a:tc>
                <a:tc>
                  <a:txBody>
                    <a:bodyPr/>
                    <a:lstStyle/>
                    <a:p>
                      <a:pPr algn="ctr"/>
                      <a:r>
                        <a:rPr lang="en-US" sz="1200" dirty="0"/>
                        <a:t>Data is safe</a:t>
                      </a:r>
                    </a:p>
                  </a:txBody>
                  <a:tcPr anchor="ctr"/>
                </a:tc>
                <a:extLst>
                  <a:ext uri="{0D108BD9-81ED-4DB2-BD59-A6C34878D82A}">
                    <a16:rowId xmlns:a16="http://schemas.microsoft.com/office/drawing/2014/main" val="4172693569"/>
                  </a:ext>
                </a:extLst>
              </a:tr>
              <a:tr h="370840">
                <a:tc>
                  <a:txBody>
                    <a:bodyPr/>
                    <a:lstStyle/>
                    <a:p>
                      <a:r>
                        <a:rPr lang="en-US" sz="1200" b="1" dirty="0">
                          <a:solidFill>
                            <a:srgbClr val="00B050"/>
                          </a:solidFill>
                        </a:rPr>
                        <a:t>Ultrastar</a:t>
                      </a:r>
                    </a:p>
                    <a:p>
                      <a:r>
                        <a:rPr lang="en-US" sz="1200" b="1" dirty="0">
                          <a:solidFill>
                            <a:srgbClr val="00B050"/>
                          </a:solidFill>
                        </a:rPr>
                        <a:t>DC HC570</a:t>
                      </a:r>
                    </a:p>
                  </a:txBody>
                  <a:tcPr anchor="ctr"/>
                </a:tc>
                <a:tc>
                  <a:txBody>
                    <a:bodyPr/>
                    <a:lstStyle/>
                    <a:p>
                      <a:pPr algn="ctr"/>
                      <a:r>
                        <a:rPr lang="en-US" sz="1200" dirty="0"/>
                        <a:t>High</a:t>
                      </a:r>
                    </a:p>
                  </a:txBody>
                  <a:tcPr anchor="ctr"/>
                </a:tc>
                <a:tc>
                  <a:txBody>
                    <a:bodyPr/>
                    <a:lstStyle/>
                    <a:p>
                      <a:pPr algn="ctr"/>
                      <a:r>
                        <a:rPr lang="en-US" sz="1200" b="1" dirty="0">
                          <a:solidFill>
                            <a:srgbClr val="00B050"/>
                          </a:solidFill>
                        </a:rPr>
                        <a:t>Data is safe</a:t>
                      </a:r>
                    </a:p>
                  </a:txBody>
                  <a:tcPr anchor="ctr"/>
                </a:tc>
                <a:tc>
                  <a:txBody>
                    <a:bodyPr/>
                    <a:lstStyle/>
                    <a:p>
                      <a:pPr algn="ctr"/>
                      <a:r>
                        <a:rPr lang="en-US" sz="1200" b="1" dirty="0">
                          <a:solidFill>
                            <a:srgbClr val="00B050"/>
                          </a:solidFill>
                        </a:rPr>
                        <a:t>High</a:t>
                      </a:r>
                    </a:p>
                  </a:txBody>
                  <a:tcPr anchor="ctr"/>
                </a:tc>
                <a:tc>
                  <a:txBody>
                    <a:bodyPr/>
                    <a:lstStyle/>
                    <a:p>
                      <a:pPr algn="ctr"/>
                      <a:r>
                        <a:rPr lang="en-US" sz="1200" dirty="0"/>
                        <a:t>Data is safe</a:t>
                      </a:r>
                    </a:p>
                  </a:txBody>
                  <a:tcPr anchor="ctr"/>
                </a:tc>
                <a:extLst>
                  <a:ext uri="{0D108BD9-81ED-4DB2-BD59-A6C34878D82A}">
                    <a16:rowId xmlns:a16="http://schemas.microsoft.com/office/drawing/2014/main" val="1302605907"/>
                  </a:ext>
                </a:extLst>
              </a:tr>
            </a:tbl>
          </a:graphicData>
        </a:graphic>
      </p:graphicFrame>
      <p:pic>
        <p:nvPicPr>
          <p:cNvPr id="5" name="Picture 4">
            <a:extLst>
              <a:ext uri="{FF2B5EF4-FFF2-40B4-BE49-F238E27FC236}">
                <a16:creationId xmlns:a16="http://schemas.microsoft.com/office/drawing/2014/main" id="{96024D00-AF16-42BF-AA95-1249D090055C}"/>
              </a:ext>
            </a:extLst>
          </p:cNvPr>
          <p:cNvPicPr>
            <a:picLocks noChangeAspect="1"/>
          </p:cNvPicPr>
          <p:nvPr/>
        </p:nvPicPr>
        <p:blipFill>
          <a:blip r:embed="rId4"/>
          <a:stretch>
            <a:fillRect/>
          </a:stretch>
        </p:blipFill>
        <p:spPr>
          <a:xfrm>
            <a:off x="6096000" y="2604052"/>
            <a:ext cx="6015386" cy="1946931"/>
          </a:xfrm>
          <a:prstGeom prst="rect">
            <a:avLst/>
          </a:prstGeom>
        </p:spPr>
      </p:pic>
      <p:sp>
        <p:nvSpPr>
          <p:cNvPr id="28" name="Content Placeholder 7">
            <a:extLst>
              <a:ext uri="{FF2B5EF4-FFF2-40B4-BE49-F238E27FC236}">
                <a16:creationId xmlns:a16="http://schemas.microsoft.com/office/drawing/2014/main" id="{A80BC4CC-0C47-4A82-93B0-86A98202A06E}"/>
              </a:ext>
            </a:extLst>
          </p:cNvPr>
          <p:cNvSpPr txBox="1">
            <a:spLocks/>
          </p:cNvSpPr>
          <p:nvPr/>
        </p:nvSpPr>
        <p:spPr>
          <a:xfrm>
            <a:off x="197323" y="1949498"/>
            <a:ext cx="5885808" cy="4673691"/>
          </a:xfrm>
          <a:prstGeom prst="rect">
            <a:avLst/>
          </a:prstGeom>
        </p:spPr>
        <p:txBody>
          <a:bodyPr/>
          <a:lstStyle>
            <a:lvl1pPr marL="274320" indent="-274320" algn="l" defTabSz="914400" rtl="0" eaLnBrk="1" latinLnBrk="0" hangingPunct="1">
              <a:lnSpc>
                <a:spcPct val="100000"/>
              </a:lnSpc>
              <a:spcBef>
                <a:spcPts val="0"/>
              </a:spcBef>
              <a:spcAft>
                <a:spcPts val="1000"/>
              </a:spcAft>
              <a:buClrTx/>
              <a:buSzPct val="100000"/>
              <a:buFont typeface="Arial" panose="020B0604020202020204" pitchFamily="34" charset="0"/>
              <a:buChar char="•"/>
              <a:defRPr sz="2400" b="0" i="0" kern="1200">
                <a:solidFill>
                  <a:schemeClr val="tx1"/>
                </a:solidFill>
                <a:latin typeface="+mn-lt"/>
                <a:ea typeface="+mn-ea"/>
                <a:cs typeface="+mn-cs"/>
              </a:defRPr>
            </a:lvl1pPr>
            <a:lvl2pPr marL="548640" indent="-274320" algn="l" defTabSz="914400" rtl="0" eaLnBrk="1" latinLnBrk="0" hangingPunct="1">
              <a:lnSpc>
                <a:spcPct val="100000"/>
              </a:lnSpc>
              <a:spcBef>
                <a:spcPts val="0"/>
              </a:spcBef>
              <a:spcAft>
                <a:spcPts val="1000"/>
              </a:spcAft>
              <a:buClrTx/>
              <a:buSzPct val="100000"/>
              <a:buFont typeface="Arial" panose="020B0604020202020204" pitchFamily="34" charset="0"/>
              <a:buChar char="•"/>
              <a:defRPr sz="2400" b="0" i="0" kern="1200">
                <a:solidFill>
                  <a:schemeClr val="tx1"/>
                </a:solidFill>
                <a:latin typeface="+mn-lt"/>
                <a:ea typeface="+mn-ea"/>
                <a:cs typeface="+mn-cs"/>
              </a:defRPr>
            </a:lvl2pPr>
            <a:lvl3pPr marL="822960" indent="-274320" algn="l" defTabSz="914400" rtl="0" eaLnBrk="1" latinLnBrk="0" hangingPunct="1">
              <a:lnSpc>
                <a:spcPct val="100000"/>
              </a:lnSpc>
              <a:spcBef>
                <a:spcPts val="0"/>
              </a:spcBef>
              <a:spcAft>
                <a:spcPts val="1000"/>
              </a:spcAft>
              <a:buClrTx/>
              <a:buSzPct val="100000"/>
              <a:buFont typeface="Arial" panose="020B0604020202020204" pitchFamily="34" charset="0"/>
              <a:buChar char="•"/>
              <a:defRPr sz="2400" b="0" i="0" kern="1200">
                <a:solidFill>
                  <a:schemeClr val="tx1"/>
                </a:solidFill>
                <a:latin typeface="+mn-lt"/>
                <a:ea typeface="+mn-ea"/>
                <a:cs typeface="+mn-cs"/>
              </a:defRPr>
            </a:lvl3pPr>
            <a:lvl4pPr marL="1097280" indent="-274320" algn="l" defTabSz="914400" rtl="0" eaLnBrk="1" latinLnBrk="0" hangingPunct="1">
              <a:lnSpc>
                <a:spcPct val="100000"/>
              </a:lnSpc>
              <a:spcBef>
                <a:spcPts val="0"/>
              </a:spcBef>
              <a:spcAft>
                <a:spcPts val="1000"/>
              </a:spcAft>
              <a:buClrTx/>
              <a:buSzPct val="100000"/>
              <a:buFont typeface="Arial" panose="020B0604020202020204" pitchFamily="34" charset="0"/>
              <a:buChar char="•"/>
              <a:defRPr sz="2000" b="0" i="0" kern="1200">
                <a:solidFill>
                  <a:schemeClr val="tx1"/>
                </a:solidFill>
                <a:latin typeface="+mn-lt"/>
                <a:ea typeface="+mn-ea"/>
                <a:cs typeface="+mn-cs"/>
              </a:defRPr>
            </a:lvl4pPr>
            <a:lvl5pPr marL="1371600" indent="-274320" algn="l" defTabSz="914400" rtl="0" eaLnBrk="1" latinLnBrk="0" hangingPunct="1">
              <a:lnSpc>
                <a:spcPct val="100000"/>
              </a:lnSpc>
              <a:spcBef>
                <a:spcPts val="0"/>
              </a:spcBef>
              <a:spcAft>
                <a:spcPts val="1000"/>
              </a:spcAft>
              <a:buClrTx/>
              <a:buSzPct val="100000"/>
              <a:buFont typeface="Arial" panose="020B0604020202020204" pitchFamily="34" charset="0"/>
              <a:buChar char="•"/>
              <a:defRPr sz="2000" b="0" i="0" kern="1200">
                <a:solidFill>
                  <a:schemeClr val="tx1"/>
                </a:solidFill>
                <a:latin typeface="+mn-lt"/>
                <a:ea typeface="+mn-ea"/>
                <a:cs typeface="+mn-cs"/>
                <a:sym typeface="Wingdings" pitchFamily="2" charset="2"/>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bg1"/>
                </a:solidFill>
              </a:rPr>
              <a:t>Enables enterprise Power Loss Protection in WCE mode, and higher performance in WCD mode.</a:t>
            </a:r>
          </a:p>
          <a:p>
            <a:endParaRPr lang="en-US" dirty="0">
              <a:solidFill>
                <a:schemeClr val="bg1"/>
              </a:solidFill>
            </a:endParaRPr>
          </a:p>
          <a:p>
            <a:pPr marL="227013" indent="-227013"/>
            <a:r>
              <a:rPr lang="en-US" dirty="0">
                <a:solidFill>
                  <a:schemeClr val="bg1"/>
                </a:solidFill>
              </a:rPr>
              <a:t>Entire user portion of DRAM is successfully flushed to </a:t>
            </a:r>
            <a:r>
              <a:rPr lang="en-US" dirty="0" err="1">
                <a:solidFill>
                  <a:schemeClr val="bg1"/>
                </a:solidFill>
              </a:rPr>
              <a:t>iNAND</a:t>
            </a:r>
            <a:r>
              <a:rPr lang="en-US" dirty="0">
                <a:solidFill>
                  <a:schemeClr val="bg1"/>
                </a:solidFill>
              </a:rPr>
              <a:t> upon EPO, whether in WCE or WCD mode</a:t>
            </a:r>
          </a:p>
          <a:p>
            <a:pPr marL="227013" indent="-227013"/>
            <a:endParaRPr lang="en-US" dirty="0">
              <a:solidFill>
                <a:schemeClr val="bg1"/>
              </a:solidFill>
            </a:endParaRPr>
          </a:p>
          <a:p>
            <a:pPr marL="227013" indent="-227013"/>
            <a:r>
              <a:rPr lang="en-US" dirty="0">
                <a:solidFill>
                  <a:schemeClr val="bg1"/>
                </a:solidFill>
              </a:rPr>
              <a:t>User realizes benefits of both modes, </a:t>
            </a:r>
            <a:r>
              <a:rPr lang="en-US" dirty="0">
                <a:solidFill>
                  <a:srgbClr val="FFFF00"/>
                </a:solidFill>
              </a:rPr>
              <a:t>regardless of which cache mode is chosen</a:t>
            </a:r>
          </a:p>
          <a:p>
            <a:endParaRPr lang="en-US" sz="2000" dirty="0">
              <a:solidFill>
                <a:schemeClr val="bg1"/>
              </a:solidFill>
            </a:endParaRPr>
          </a:p>
        </p:txBody>
      </p:sp>
    </p:spTree>
    <p:extLst>
      <p:ext uri="{BB962C8B-B14F-4D97-AF65-F5344CB8AC3E}">
        <p14:creationId xmlns:p14="http://schemas.microsoft.com/office/powerpoint/2010/main" val="413964336"/>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1132"/>
        <p:cNvGrpSpPr/>
        <p:nvPr/>
      </p:nvGrpSpPr>
      <p:grpSpPr>
        <a:xfrm>
          <a:off x="0" y="0"/>
          <a:ext cx="0" cy="0"/>
          <a:chOff x="0" y="0"/>
          <a:chExt cx="0" cy="0"/>
        </a:xfrm>
      </p:grpSpPr>
      <p:sp>
        <p:nvSpPr>
          <p:cNvPr id="4" name="Rectangle 3">
            <a:extLst>
              <a:ext uri="{FF2B5EF4-FFF2-40B4-BE49-F238E27FC236}">
                <a16:creationId xmlns:a16="http://schemas.microsoft.com/office/drawing/2014/main" id="{A825FD66-AC72-FE4F-98E7-116357D75D42}"/>
              </a:ext>
            </a:extLst>
          </p:cNvPr>
          <p:cNvSpPr/>
          <p:nvPr/>
        </p:nvSpPr>
        <p:spPr>
          <a:xfrm>
            <a:off x="1219199" y="1746563"/>
            <a:ext cx="8594652" cy="5025712"/>
          </a:xfrm>
          <a:prstGeom prst="rect">
            <a:avLst/>
          </a:prstGeom>
          <a:blipFill>
            <a:blip r:embed="rId3" cstate="screen">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58C437E0-503E-5349-9DCC-8D84A79F090B}"/>
              </a:ext>
            </a:extLst>
          </p:cNvPr>
          <p:cNvSpPr/>
          <p:nvPr/>
        </p:nvSpPr>
        <p:spPr>
          <a:xfrm>
            <a:off x="0" y="1746566"/>
            <a:ext cx="7549116" cy="5025710"/>
          </a:xfrm>
          <a:prstGeom prst="rect">
            <a:avLst/>
          </a:prstGeom>
          <a:gradFill flip="none" rotWithShape="1">
            <a:gsLst>
              <a:gs pos="35000">
                <a:schemeClr val="tx1"/>
              </a:gs>
              <a:gs pos="99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buClr>
                <a:srgbClr val="000000"/>
              </a:buClr>
              <a:defRPr/>
            </a:pPr>
            <a:endParaRPr lang="x-none" sz="1400" kern="0">
              <a:solidFill>
                <a:srgbClr val="FFFFFF"/>
              </a:solidFill>
              <a:latin typeface="Arial"/>
              <a:sym typeface="Arial"/>
            </a:endParaRPr>
          </a:p>
        </p:txBody>
      </p:sp>
      <p:sp>
        <p:nvSpPr>
          <p:cNvPr id="19" name="Rectangle 18">
            <a:extLst>
              <a:ext uri="{FF2B5EF4-FFF2-40B4-BE49-F238E27FC236}">
                <a16:creationId xmlns:a16="http://schemas.microsoft.com/office/drawing/2014/main" id="{19E67877-96EA-4067-B9ED-CD42BC2BDC47}"/>
              </a:ext>
            </a:extLst>
          </p:cNvPr>
          <p:cNvSpPr/>
          <p:nvPr/>
        </p:nvSpPr>
        <p:spPr>
          <a:xfrm>
            <a:off x="332927" y="1746565"/>
            <a:ext cx="886273" cy="502571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buClr>
                <a:srgbClr val="000000"/>
              </a:buClr>
              <a:defRPr/>
            </a:pPr>
            <a:endParaRPr lang="x-none" sz="1400" kern="0">
              <a:solidFill>
                <a:srgbClr val="FFFFFF"/>
              </a:solidFill>
              <a:latin typeface="Arial"/>
              <a:sym typeface="Arial"/>
            </a:endParaRPr>
          </a:p>
        </p:txBody>
      </p:sp>
      <p:sp>
        <p:nvSpPr>
          <p:cNvPr id="12" name="Rectangle 11">
            <a:extLst>
              <a:ext uri="{FF2B5EF4-FFF2-40B4-BE49-F238E27FC236}">
                <a16:creationId xmlns:a16="http://schemas.microsoft.com/office/drawing/2014/main" id="{FE9B462A-C033-D041-A7A7-303FFFAB6DAB}"/>
              </a:ext>
            </a:extLst>
          </p:cNvPr>
          <p:cNvSpPr/>
          <p:nvPr/>
        </p:nvSpPr>
        <p:spPr>
          <a:xfrm>
            <a:off x="6419849" y="1746564"/>
            <a:ext cx="5780333" cy="5025711"/>
          </a:xfrm>
          <a:prstGeom prst="rect">
            <a:avLst/>
          </a:prstGeom>
          <a:gradFill flip="none" rotWithShape="1">
            <a:gsLst>
              <a:gs pos="47000">
                <a:schemeClr val="tx1"/>
              </a:gs>
              <a:gs pos="100000">
                <a:schemeClr val="accent1">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70F5F4A-FFE8-EB42-B2E3-A8BEE8472620}"/>
              </a:ext>
            </a:extLst>
          </p:cNvPr>
          <p:cNvSpPr>
            <a:spLocks noGrp="1"/>
          </p:cNvSpPr>
          <p:nvPr>
            <p:ph type="title"/>
          </p:nvPr>
        </p:nvSpPr>
        <p:spPr/>
        <p:txBody>
          <a:bodyPr wrap="square" anchor="t"/>
          <a:lstStyle/>
          <a:p>
            <a:r>
              <a:rPr lang="en-US" dirty="0">
                <a:sym typeface="Verdana"/>
              </a:rPr>
              <a:t>Performance Gains on 22TB platform</a:t>
            </a:r>
            <a:endParaRPr lang="en-IL" dirty="0"/>
          </a:p>
        </p:txBody>
      </p:sp>
      <p:sp>
        <p:nvSpPr>
          <p:cNvPr id="16" name="Text Placeholder 3">
            <a:extLst>
              <a:ext uri="{FF2B5EF4-FFF2-40B4-BE49-F238E27FC236}">
                <a16:creationId xmlns:a16="http://schemas.microsoft.com/office/drawing/2014/main" id="{3F22D9BE-EC60-EC46-A262-AC52E884525F}"/>
              </a:ext>
            </a:extLst>
          </p:cNvPr>
          <p:cNvSpPr>
            <a:spLocks noGrp="1"/>
          </p:cNvSpPr>
          <p:nvPr>
            <p:ph type="body" sz="quarter" idx="12"/>
          </p:nvPr>
        </p:nvSpPr>
        <p:spPr/>
        <p:txBody>
          <a:bodyPr/>
          <a:lstStyle/>
          <a:p>
            <a:pPr marL="0" indent="0">
              <a:lnSpc>
                <a:spcPts val="2200"/>
              </a:lnSpc>
              <a:buClr>
                <a:srgbClr val="000000"/>
              </a:buClr>
              <a:buSzPts val="1100"/>
              <a:buNone/>
              <a:defRPr/>
            </a:pPr>
            <a:r>
              <a:rPr lang="en-US" dirty="0">
                <a:solidFill>
                  <a:schemeClr val="tx2">
                    <a:lumMod val="60000"/>
                    <a:lumOff val="40000"/>
                  </a:schemeClr>
                </a:solidFill>
                <a:latin typeface="Century Gothic" panose="020B0502020202020204" pitchFamily="34" charset="0"/>
                <a:sym typeface="Calibri"/>
              </a:rPr>
              <a:t>With </a:t>
            </a:r>
            <a:r>
              <a:rPr lang="en-US" dirty="0" err="1">
                <a:solidFill>
                  <a:schemeClr val="tx2">
                    <a:lumMod val="60000"/>
                    <a:lumOff val="40000"/>
                  </a:schemeClr>
                </a:solidFill>
                <a:latin typeface="Century Gothic" panose="020B0502020202020204" pitchFamily="34" charset="0"/>
                <a:sym typeface="Calibri"/>
              </a:rPr>
              <a:t>ArmorCache</a:t>
            </a:r>
            <a:r>
              <a:rPr lang="en-US" dirty="0">
                <a:solidFill>
                  <a:schemeClr val="tx2">
                    <a:lumMod val="60000"/>
                    <a:lumOff val="40000"/>
                  </a:schemeClr>
                </a:solidFill>
                <a:latin typeface="Century Gothic" panose="020B0502020202020204" pitchFamily="34" charset="0"/>
                <a:sym typeface="Calibri"/>
              </a:rPr>
              <a:t> feature</a:t>
            </a:r>
            <a:endParaRPr lang="en-US" sz="2400" b="1" dirty="0">
              <a:solidFill>
                <a:schemeClr val="tx2">
                  <a:lumMod val="60000"/>
                  <a:lumOff val="40000"/>
                </a:schemeClr>
              </a:solidFill>
              <a:latin typeface="Century Gothic" panose="020B0502020202020204" pitchFamily="34" charset="0"/>
              <a:sym typeface="Calibri"/>
            </a:endParaRPr>
          </a:p>
        </p:txBody>
      </p:sp>
      <p:sp>
        <p:nvSpPr>
          <p:cNvPr id="23" name="Content Placeholder 7">
            <a:extLst>
              <a:ext uri="{FF2B5EF4-FFF2-40B4-BE49-F238E27FC236}">
                <a16:creationId xmlns:a16="http://schemas.microsoft.com/office/drawing/2014/main" id="{265F55CF-90F5-41B8-BADE-B69244FF1081}"/>
              </a:ext>
            </a:extLst>
          </p:cNvPr>
          <p:cNvSpPr txBox="1">
            <a:spLocks/>
          </p:cNvSpPr>
          <p:nvPr/>
        </p:nvSpPr>
        <p:spPr>
          <a:xfrm>
            <a:off x="338513" y="2029929"/>
            <a:ext cx="9113599" cy="1112121"/>
          </a:xfrm>
          <a:prstGeom prst="rect">
            <a:avLst/>
          </a:prstGeom>
        </p:spPr>
        <p:txBody>
          <a:bodyPr/>
          <a:lstStyle>
            <a:lvl1pPr marL="274320" indent="-274320" algn="l" defTabSz="914400" rtl="0" eaLnBrk="1" latinLnBrk="0" hangingPunct="1">
              <a:lnSpc>
                <a:spcPct val="100000"/>
              </a:lnSpc>
              <a:spcBef>
                <a:spcPts val="0"/>
              </a:spcBef>
              <a:spcAft>
                <a:spcPts val="1000"/>
              </a:spcAft>
              <a:buClrTx/>
              <a:buSzPct val="100000"/>
              <a:buFont typeface="Arial" panose="020B0604020202020204" pitchFamily="34" charset="0"/>
              <a:buChar char="•"/>
              <a:defRPr sz="2400" b="0" i="0" kern="1200">
                <a:solidFill>
                  <a:schemeClr val="tx1"/>
                </a:solidFill>
                <a:latin typeface="+mn-lt"/>
                <a:ea typeface="+mn-ea"/>
                <a:cs typeface="+mn-cs"/>
              </a:defRPr>
            </a:lvl1pPr>
            <a:lvl2pPr marL="548640" indent="-274320" algn="l" defTabSz="914400" rtl="0" eaLnBrk="1" latinLnBrk="0" hangingPunct="1">
              <a:lnSpc>
                <a:spcPct val="100000"/>
              </a:lnSpc>
              <a:spcBef>
                <a:spcPts val="0"/>
              </a:spcBef>
              <a:spcAft>
                <a:spcPts val="1000"/>
              </a:spcAft>
              <a:buClrTx/>
              <a:buSzPct val="100000"/>
              <a:buFont typeface="Arial" panose="020B0604020202020204" pitchFamily="34" charset="0"/>
              <a:buChar char="•"/>
              <a:defRPr sz="2400" b="0" i="0" kern="1200">
                <a:solidFill>
                  <a:schemeClr val="tx1"/>
                </a:solidFill>
                <a:latin typeface="+mn-lt"/>
                <a:ea typeface="+mn-ea"/>
                <a:cs typeface="+mn-cs"/>
              </a:defRPr>
            </a:lvl2pPr>
            <a:lvl3pPr marL="822960" indent="-274320" algn="l" defTabSz="914400" rtl="0" eaLnBrk="1" latinLnBrk="0" hangingPunct="1">
              <a:lnSpc>
                <a:spcPct val="100000"/>
              </a:lnSpc>
              <a:spcBef>
                <a:spcPts val="0"/>
              </a:spcBef>
              <a:spcAft>
                <a:spcPts val="1000"/>
              </a:spcAft>
              <a:buClrTx/>
              <a:buSzPct val="100000"/>
              <a:buFont typeface="Arial" panose="020B0604020202020204" pitchFamily="34" charset="0"/>
              <a:buChar char="•"/>
              <a:defRPr sz="2400" b="0" i="0" kern="1200">
                <a:solidFill>
                  <a:schemeClr val="tx1"/>
                </a:solidFill>
                <a:latin typeface="+mn-lt"/>
                <a:ea typeface="+mn-ea"/>
                <a:cs typeface="+mn-cs"/>
              </a:defRPr>
            </a:lvl3pPr>
            <a:lvl4pPr marL="1097280" indent="-274320" algn="l" defTabSz="914400" rtl="0" eaLnBrk="1" latinLnBrk="0" hangingPunct="1">
              <a:lnSpc>
                <a:spcPct val="100000"/>
              </a:lnSpc>
              <a:spcBef>
                <a:spcPts val="0"/>
              </a:spcBef>
              <a:spcAft>
                <a:spcPts val="1000"/>
              </a:spcAft>
              <a:buClrTx/>
              <a:buSzPct val="100000"/>
              <a:buFont typeface="Arial" panose="020B0604020202020204" pitchFamily="34" charset="0"/>
              <a:buChar char="•"/>
              <a:defRPr sz="2000" b="0" i="0" kern="1200">
                <a:solidFill>
                  <a:schemeClr val="tx1"/>
                </a:solidFill>
                <a:latin typeface="+mn-lt"/>
                <a:ea typeface="+mn-ea"/>
                <a:cs typeface="+mn-cs"/>
              </a:defRPr>
            </a:lvl4pPr>
            <a:lvl5pPr marL="1371600" indent="-274320" algn="l" defTabSz="914400" rtl="0" eaLnBrk="1" latinLnBrk="0" hangingPunct="1">
              <a:lnSpc>
                <a:spcPct val="100000"/>
              </a:lnSpc>
              <a:spcBef>
                <a:spcPts val="0"/>
              </a:spcBef>
              <a:spcAft>
                <a:spcPts val="1000"/>
              </a:spcAft>
              <a:buClrTx/>
              <a:buSzPct val="100000"/>
              <a:buFont typeface="Arial" panose="020B0604020202020204" pitchFamily="34" charset="0"/>
              <a:buChar char="•"/>
              <a:defRPr sz="2000" b="0" i="0" kern="1200">
                <a:solidFill>
                  <a:schemeClr val="tx1"/>
                </a:solidFill>
                <a:latin typeface="+mn-lt"/>
                <a:ea typeface="+mn-ea"/>
                <a:cs typeface="+mn-cs"/>
                <a:sym typeface="Wingdings" pitchFamily="2" charset="2"/>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dirty="0">
                <a:solidFill>
                  <a:schemeClr val="bg1"/>
                </a:solidFill>
              </a:rPr>
              <a:t>Increased Write Cache Disabled (WCD) performance </a:t>
            </a:r>
          </a:p>
          <a:p>
            <a:r>
              <a:rPr lang="en-US" dirty="0">
                <a:solidFill>
                  <a:schemeClr val="bg1"/>
                </a:solidFill>
              </a:rPr>
              <a:t>Significant advantage at HDD-relevant larger transfer length</a:t>
            </a:r>
          </a:p>
        </p:txBody>
      </p:sp>
      <p:pic>
        <p:nvPicPr>
          <p:cNvPr id="20" name="Picture 19" descr="A picture containing text, electronics, camera&#10;&#10;Description automatically generated">
            <a:extLst>
              <a:ext uri="{FF2B5EF4-FFF2-40B4-BE49-F238E27FC236}">
                <a16:creationId xmlns:a16="http://schemas.microsoft.com/office/drawing/2014/main" id="{E42D05D1-B61B-447C-8BC5-6F476ECE889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593153" y="1381150"/>
            <a:ext cx="2014891" cy="3049428"/>
          </a:xfrm>
          <a:prstGeom prst="rect">
            <a:avLst/>
          </a:prstGeom>
        </p:spPr>
      </p:pic>
      <p:graphicFrame>
        <p:nvGraphicFramePr>
          <p:cNvPr id="13" name="Chart 12">
            <a:extLst>
              <a:ext uri="{FF2B5EF4-FFF2-40B4-BE49-F238E27FC236}">
                <a16:creationId xmlns:a16="http://schemas.microsoft.com/office/drawing/2014/main" id="{F6C23967-E6C1-479E-BA81-DA9A039DFA28}"/>
              </a:ext>
              <a:ext uri="{147F2762-F138-4A5C-976F-8EAC2B608ADB}">
                <a16:predDERef xmlns:a16="http://schemas.microsoft.com/office/drawing/2014/main" pred="{721552BB-452C-4200-B88D-5526EC44B27E}"/>
              </a:ext>
            </a:extLst>
          </p:cNvPr>
          <p:cNvGraphicFramePr>
            <a:graphicFrameLocks/>
          </p:cNvGraphicFramePr>
          <p:nvPr>
            <p:extLst>
              <p:ext uri="{D42A27DB-BD31-4B8C-83A1-F6EECF244321}">
                <p14:modId xmlns:p14="http://schemas.microsoft.com/office/powerpoint/2010/main" val="1967955046"/>
              </p:ext>
            </p:extLst>
          </p:nvPr>
        </p:nvGraphicFramePr>
        <p:xfrm>
          <a:off x="803464" y="3011558"/>
          <a:ext cx="5616383" cy="360423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810833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DC PPT v.3.0">
  <a:themeElements>
    <a:clrScheme name="WDC Colors 2022">
      <a:dk1>
        <a:srgbClr val="000000"/>
      </a:dk1>
      <a:lt1>
        <a:srgbClr val="FAFAFA"/>
      </a:lt1>
      <a:dk2>
        <a:srgbClr val="000000"/>
      </a:dk2>
      <a:lt2>
        <a:srgbClr val="FAFAFA"/>
      </a:lt2>
      <a:accent1>
        <a:srgbClr val="5DA7FB"/>
      </a:accent1>
      <a:accent2>
        <a:srgbClr val="995DFF"/>
      </a:accent2>
      <a:accent3>
        <a:srgbClr val="FC1859"/>
      </a:accent3>
      <a:accent4>
        <a:srgbClr val="5DA7FB"/>
      </a:accent4>
      <a:accent5>
        <a:srgbClr val="995DFF"/>
      </a:accent5>
      <a:accent6>
        <a:srgbClr val="FC1859"/>
      </a:accent6>
      <a:hlink>
        <a:srgbClr val="995DFF"/>
      </a:hlink>
      <a:folHlink>
        <a:srgbClr val="D9D9D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WDC_PPT_Template_v3.0_041122" id="{D42E8941-A6E9-5042-9915-2F81C687F021}" vid="{C46A872D-AECD-9C4A-8B8D-08F5508599A6}"/>
    </a:ext>
  </a:extLst>
</a:theme>
</file>

<file path=ppt/theme/theme2.xml><?xml version="1.0" encoding="utf-8"?>
<a:theme xmlns:a="http://schemas.openxmlformats.org/drawingml/2006/main" name="WDC PPT v.3.0">
  <a:themeElements>
    <a:clrScheme name="WDC Colors 2022">
      <a:dk1>
        <a:srgbClr val="000000"/>
      </a:dk1>
      <a:lt1>
        <a:srgbClr val="FAFAFA"/>
      </a:lt1>
      <a:dk2>
        <a:srgbClr val="000000"/>
      </a:dk2>
      <a:lt2>
        <a:srgbClr val="FAFAFA"/>
      </a:lt2>
      <a:accent1>
        <a:srgbClr val="5DA7FB"/>
      </a:accent1>
      <a:accent2>
        <a:srgbClr val="995DFF"/>
      </a:accent2>
      <a:accent3>
        <a:srgbClr val="FC1859"/>
      </a:accent3>
      <a:accent4>
        <a:srgbClr val="5DA7FB"/>
      </a:accent4>
      <a:accent5>
        <a:srgbClr val="995DFF"/>
      </a:accent5>
      <a:accent6>
        <a:srgbClr val="FC1859"/>
      </a:accent6>
      <a:hlink>
        <a:srgbClr val="995DFF"/>
      </a:hlink>
      <a:folHlink>
        <a:srgbClr val="D9D9D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tion4" id="{8FE5864A-484B-864C-8C9D-A140DCA3BB82}" vid="{AA8ACC95-B6E3-C64C-882A-F9E7C56BD5D4}"/>
    </a:ext>
  </a:extLst>
</a:theme>
</file>

<file path=ppt/theme/theme3.xml><?xml version="1.0" encoding="utf-8"?>
<a:theme xmlns:a="http://schemas.openxmlformats.org/drawingml/2006/main" name="WDC PPT v.3.0">
  <a:themeElements>
    <a:clrScheme name="WDC Colors 2022">
      <a:dk1>
        <a:srgbClr val="000000"/>
      </a:dk1>
      <a:lt1>
        <a:srgbClr val="FAFAFA"/>
      </a:lt1>
      <a:dk2>
        <a:srgbClr val="000000"/>
      </a:dk2>
      <a:lt2>
        <a:srgbClr val="FAFAFA"/>
      </a:lt2>
      <a:accent1>
        <a:srgbClr val="5DA7FB"/>
      </a:accent1>
      <a:accent2>
        <a:srgbClr val="995DFF"/>
      </a:accent2>
      <a:accent3>
        <a:srgbClr val="FC1859"/>
      </a:accent3>
      <a:accent4>
        <a:srgbClr val="5DA7FB"/>
      </a:accent4>
      <a:accent5>
        <a:srgbClr val="995DFF"/>
      </a:accent5>
      <a:accent6>
        <a:srgbClr val="FC1859"/>
      </a:accent6>
      <a:hlink>
        <a:srgbClr val="995DFF"/>
      </a:hlink>
      <a:folHlink>
        <a:srgbClr val="D9D9D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WDC_PPT_Template_v3.0_041122" id="{D42E8941-A6E9-5042-9915-2F81C687F021}" vid="{C46A872D-AECD-9C4A-8B8D-08F5508599A6}"/>
    </a:ext>
  </a:extLst>
</a:theme>
</file>

<file path=ppt/theme/theme4.xml><?xml version="1.0" encoding="utf-8"?>
<a:theme xmlns:a="http://schemas.openxmlformats.org/drawingml/2006/main" name="WDC PPT v.3.0">
  <a:themeElements>
    <a:clrScheme name="WDC Colors 2022">
      <a:dk1>
        <a:srgbClr val="000000"/>
      </a:dk1>
      <a:lt1>
        <a:srgbClr val="FAFAFA"/>
      </a:lt1>
      <a:dk2>
        <a:srgbClr val="000000"/>
      </a:dk2>
      <a:lt2>
        <a:srgbClr val="FAFAFA"/>
      </a:lt2>
      <a:accent1>
        <a:srgbClr val="5DA7FB"/>
      </a:accent1>
      <a:accent2>
        <a:srgbClr val="995DFF"/>
      </a:accent2>
      <a:accent3>
        <a:srgbClr val="FC1859"/>
      </a:accent3>
      <a:accent4>
        <a:srgbClr val="5DA7FB"/>
      </a:accent4>
      <a:accent5>
        <a:srgbClr val="995DFF"/>
      </a:accent5>
      <a:accent6>
        <a:srgbClr val="FC1859"/>
      </a:accent6>
      <a:hlink>
        <a:srgbClr val="995DFF"/>
      </a:hlink>
      <a:folHlink>
        <a:srgbClr val="D9D9D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WDC Create Whats Next 2022" id="{B2330912-A7CB-984B-86A8-E22C6E587B9F}" vid="{FA90BE01-278D-4741-ACE6-EBB4860500F6}"/>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6920</TotalTime>
  <Words>1620</Words>
  <Application>Microsoft Office PowerPoint</Application>
  <PresentationFormat>Widescreen</PresentationFormat>
  <Paragraphs>326</Paragraphs>
  <Slides>24</Slides>
  <Notes>16</Notes>
  <HiddenSlides>0</HiddenSlides>
  <MMClips>0</MMClips>
  <ScaleCrop>false</ScaleCrop>
  <HeadingPairs>
    <vt:vector size="8" baseType="variant">
      <vt:variant>
        <vt:lpstr>Fonts Used</vt:lpstr>
      </vt:variant>
      <vt:variant>
        <vt:i4>6</vt:i4>
      </vt:variant>
      <vt:variant>
        <vt:lpstr>Theme</vt:lpstr>
      </vt:variant>
      <vt:variant>
        <vt:i4>4</vt:i4>
      </vt:variant>
      <vt:variant>
        <vt:lpstr>Embedded OLE Servers</vt:lpstr>
      </vt:variant>
      <vt:variant>
        <vt:i4>1</vt:i4>
      </vt:variant>
      <vt:variant>
        <vt:lpstr>Slide Titles</vt:lpstr>
      </vt:variant>
      <vt:variant>
        <vt:i4>24</vt:i4>
      </vt:variant>
    </vt:vector>
  </HeadingPairs>
  <TitlesOfParts>
    <vt:vector size="35" baseType="lpstr">
      <vt:lpstr>Arial</vt:lpstr>
      <vt:lpstr>Calibri</vt:lpstr>
      <vt:lpstr>Century Gothic</vt:lpstr>
      <vt:lpstr>FK Grotesk</vt:lpstr>
      <vt:lpstr>FK Grotesk Medium</vt:lpstr>
      <vt:lpstr>Verdana</vt:lpstr>
      <vt:lpstr>WDC PPT v.3.0</vt:lpstr>
      <vt:lpstr>WDC PPT v.3.0</vt:lpstr>
      <vt:lpstr>WDC PPT v.3.0</vt:lpstr>
      <vt:lpstr>WDC PPT v.3.0</vt:lpstr>
      <vt:lpstr>think-cell Slide</vt:lpstr>
      <vt:lpstr>WDC Ultrastar for Ceph Storage Solutions</vt:lpstr>
      <vt:lpstr>SAFE HARBOR STATEMENT</vt:lpstr>
      <vt:lpstr>THE BROADEST STORAGE LEADERSHIP</vt:lpstr>
      <vt:lpstr>Ultrastar TM HDD Portfolio</vt:lpstr>
      <vt:lpstr>PowerPoint Presentation</vt:lpstr>
      <vt:lpstr>PowerPoint Presentation</vt:lpstr>
      <vt:lpstr>C- and D-Generation  Family Overview</vt:lpstr>
      <vt:lpstr>ArmorCache™ on Ultrastar</vt:lpstr>
      <vt:lpstr>Performance Gains on 22TB platform</vt:lpstr>
      <vt:lpstr>Performance Gains on 22TB platform</vt:lpstr>
      <vt:lpstr>Ultrastar TM Platform Portfolio</vt:lpstr>
      <vt:lpstr>Platforms Portfolio</vt:lpstr>
      <vt:lpstr>Ultrastar® Data60/102 Storage Platform</vt:lpstr>
      <vt:lpstr>Ultrastar Data Family Innovation IsoVibe™</vt:lpstr>
      <vt:lpstr>Ultrastar Data Family Innovation ArcticFlow ™</vt:lpstr>
      <vt:lpstr>Ultrastar Data Family Serviceability</vt:lpstr>
      <vt:lpstr>Ultrastar Data Family Serviceability</vt:lpstr>
      <vt:lpstr>Ultrastar Data Family Innovations</vt:lpstr>
      <vt:lpstr>Published HDD 2Q22 Return Rates</vt:lpstr>
      <vt:lpstr>          Ultrastar JBOD Versatility</vt:lpstr>
      <vt:lpstr>OpenFlex™ Data24 NVMe-oF JBOF</vt:lpstr>
      <vt:lpstr>RapidFlex™ High-Performance NVMe-oF Controller</vt:lpstr>
      <vt:lpstr>         Ceph*) on Steroid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RKET UPDATE</dc:title>
  <dc:creator>Philip Parian</dc:creator>
  <cp:lastModifiedBy>Manfred Berger</cp:lastModifiedBy>
  <cp:revision>175</cp:revision>
  <dcterms:created xsi:type="dcterms:W3CDTF">2022-07-19T16:59:49Z</dcterms:created>
  <dcterms:modified xsi:type="dcterms:W3CDTF">2022-10-06T21:37:17Z</dcterms:modified>
</cp:coreProperties>
</file>